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3"/>
  </p:notesMasterIdLst>
  <p:sldIdLst>
    <p:sldId id="256" r:id="rId5"/>
    <p:sldId id="3983" r:id="rId6"/>
    <p:sldId id="4046" r:id="rId7"/>
    <p:sldId id="4008" r:id="rId8"/>
    <p:sldId id="4041" r:id="rId9"/>
    <p:sldId id="4042" r:id="rId10"/>
    <p:sldId id="4043" r:id="rId11"/>
    <p:sldId id="4044" r:id="rId12"/>
    <p:sldId id="4015" r:id="rId13"/>
    <p:sldId id="4049" r:id="rId14"/>
    <p:sldId id="4047" r:id="rId15"/>
    <p:sldId id="4050" r:id="rId16"/>
    <p:sldId id="4028" r:id="rId17"/>
    <p:sldId id="4045" r:id="rId18"/>
    <p:sldId id="4011" r:id="rId19"/>
    <p:sldId id="4039" r:id="rId20"/>
    <p:sldId id="5243" r:id="rId21"/>
    <p:sldId id="5245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D618B1-E256-484C-860C-BBAF0F1E5BC4}" v="242" dt="2020-12-16T09:48:08.8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5595" autoAdjust="0"/>
  </p:normalViewPr>
  <p:slideViewPr>
    <p:cSldViewPr snapToGrid="0">
      <p:cViewPr varScale="1">
        <p:scale>
          <a:sx n="58" d="100"/>
          <a:sy n="58" d="100"/>
        </p:scale>
        <p:origin x="43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ustomXml" Target="../customXml/item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'Neill, Dermot" userId="c1739f7e-8674-4e5d-ad7e-0c71b0662095" providerId="ADAL" clId="{42D618B1-E256-484C-860C-BBAF0F1E5BC4}"/>
    <pc:docChg chg="custSel modSld">
      <pc:chgData name="O'Neill, Dermot" userId="c1739f7e-8674-4e5d-ad7e-0c71b0662095" providerId="ADAL" clId="{42D618B1-E256-484C-860C-BBAF0F1E5BC4}" dt="2020-12-16T09:48:08.885" v="241" actId="20577"/>
      <pc:docMkLst>
        <pc:docMk/>
      </pc:docMkLst>
      <pc:sldChg chg="addSp modSp modAnim">
        <pc:chgData name="O'Neill, Dermot" userId="c1739f7e-8674-4e5d-ad7e-0c71b0662095" providerId="ADAL" clId="{42D618B1-E256-484C-860C-BBAF0F1E5BC4}" dt="2020-12-16T09:39:09.997" v="219"/>
        <pc:sldMkLst>
          <pc:docMk/>
          <pc:sldMk cId="3540679346" sldId="4043"/>
        </pc:sldMkLst>
        <pc:spChg chg="mod">
          <ac:chgData name="O'Neill, Dermot" userId="c1739f7e-8674-4e5d-ad7e-0c71b0662095" providerId="ADAL" clId="{42D618B1-E256-484C-860C-BBAF0F1E5BC4}" dt="2020-12-16T09:37:12.669" v="202" actId="1076"/>
          <ac:spMkLst>
            <pc:docMk/>
            <pc:sldMk cId="3540679346" sldId="4043"/>
            <ac:spMk id="3" creationId="{B6C751A7-9454-47A8-B1C1-4DBB17EAE709}"/>
          </ac:spMkLst>
        </pc:spChg>
        <pc:spChg chg="add mod">
          <ac:chgData name="O'Neill, Dermot" userId="c1739f7e-8674-4e5d-ad7e-0c71b0662095" providerId="ADAL" clId="{42D618B1-E256-484C-860C-BBAF0F1E5BC4}" dt="2020-12-16T09:38:00.850" v="214" actId="12"/>
          <ac:spMkLst>
            <pc:docMk/>
            <pc:sldMk cId="3540679346" sldId="4043"/>
            <ac:spMk id="4" creationId="{520A2DA0-1890-4244-B56F-1279BB084108}"/>
          </ac:spMkLst>
        </pc:spChg>
      </pc:sldChg>
      <pc:sldChg chg="modSp">
        <pc:chgData name="O'Neill, Dermot" userId="c1739f7e-8674-4e5d-ad7e-0c71b0662095" providerId="ADAL" clId="{42D618B1-E256-484C-860C-BBAF0F1E5BC4}" dt="2020-12-16T09:41:01.901" v="231" actId="20577"/>
        <pc:sldMkLst>
          <pc:docMk/>
          <pc:sldMk cId="3098069052" sldId="4044"/>
        </pc:sldMkLst>
        <pc:spChg chg="mod">
          <ac:chgData name="O'Neill, Dermot" userId="c1739f7e-8674-4e5d-ad7e-0c71b0662095" providerId="ADAL" clId="{42D618B1-E256-484C-860C-BBAF0F1E5BC4}" dt="2020-12-16T09:40:39.981" v="223" actId="113"/>
          <ac:spMkLst>
            <pc:docMk/>
            <pc:sldMk cId="3098069052" sldId="4044"/>
            <ac:spMk id="3" creationId="{0479849F-9B21-4E4B-B654-C43CBDE8C269}"/>
          </ac:spMkLst>
        </pc:spChg>
        <pc:spChg chg="mod">
          <ac:chgData name="O'Neill, Dermot" userId="c1739f7e-8674-4e5d-ad7e-0c71b0662095" providerId="ADAL" clId="{42D618B1-E256-484C-860C-BBAF0F1E5BC4}" dt="2020-12-16T09:41:01.901" v="231" actId="20577"/>
          <ac:spMkLst>
            <pc:docMk/>
            <pc:sldMk cId="3098069052" sldId="4044"/>
            <ac:spMk id="4" creationId="{CAF14D3B-687D-40B6-A7C7-14A31869C478}"/>
          </ac:spMkLst>
        </pc:spChg>
      </pc:sldChg>
      <pc:sldChg chg="modNotesTx">
        <pc:chgData name="O'Neill, Dermot" userId="c1739f7e-8674-4e5d-ad7e-0c71b0662095" providerId="ADAL" clId="{42D618B1-E256-484C-860C-BBAF0F1E5BC4}" dt="2020-12-16T09:12:52.893" v="190" actId="20577"/>
        <pc:sldMkLst>
          <pc:docMk/>
          <pc:sldMk cId="3296911374" sldId="4046"/>
        </pc:sldMkLst>
      </pc:sldChg>
      <pc:sldChg chg="addSp delSp modSp">
        <pc:chgData name="O'Neill, Dermot" userId="c1739f7e-8674-4e5d-ad7e-0c71b0662095" providerId="ADAL" clId="{42D618B1-E256-484C-860C-BBAF0F1E5BC4}" dt="2020-12-16T09:10:22.783" v="6" actId="732"/>
        <pc:sldMkLst>
          <pc:docMk/>
          <pc:sldMk cId="3558904646" sldId="4049"/>
        </pc:sldMkLst>
        <pc:picChg chg="add mod modCrop">
          <ac:chgData name="O'Neill, Dermot" userId="c1739f7e-8674-4e5d-ad7e-0c71b0662095" providerId="ADAL" clId="{42D618B1-E256-484C-860C-BBAF0F1E5BC4}" dt="2020-12-16T09:10:22.783" v="6" actId="732"/>
          <ac:picMkLst>
            <pc:docMk/>
            <pc:sldMk cId="3558904646" sldId="4049"/>
            <ac:picMk id="2" creationId="{9A496C1F-282E-4160-829D-B85B8A1CE3F6}"/>
          </ac:picMkLst>
        </pc:picChg>
        <pc:picChg chg="del">
          <ac:chgData name="O'Neill, Dermot" userId="c1739f7e-8674-4e5d-ad7e-0c71b0662095" providerId="ADAL" clId="{42D618B1-E256-484C-860C-BBAF0F1E5BC4}" dt="2020-12-16T09:09:28.541" v="0" actId="478"/>
          <ac:picMkLst>
            <pc:docMk/>
            <pc:sldMk cId="3558904646" sldId="4049"/>
            <ac:picMk id="15" creationId="{3EC87FB0-3E8D-49EF-84C9-E1CC403F0F3E}"/>
          </ac:picMkLst>
        </pc:picChg>
      </pc:sldChg>
      <pc:sldChg chg="modSp">
        <pc:chgData name="O'Neill, Dermot" userId="c1739f7e-8674-4e5d-ad7e-0c71b0662095" providerId="ADAL" clId="{42D618B1-E256-484C-860C-BBAF0F1E5BC4}" dt="2020-12-16T09:48:08.885" v="241" actId="20577"/>
        <pc:sldMkLst>
          <pc:docMk/>
          <pc:sldMk cId="2427800643" sldId="4050"/>
        </pc:sldMkLst>
        <pc:spChg chg="mod">
          <ac:chgData name="O'Neill, Dermot" userId="c1739f7e-8674-4e5d-ad7e-0c71b0662095" providerId="ADAL" clId="{42D618B1-E256-484C-860C-BBAF0F1E5BC4}" dt="2020-12-16T09:48:08.885" v="241" actId="20577"/>
          <ac:spMkLst>
            <pc:docMk/>
            <pc:sldMk cId="2427800643" sldId="4050"/>
            <ac:spMk id="3" creationId="{0484B201-2B71-4A72-AFC4-81EF2238F947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AAE2603-2266-4059-975A-0ACEC064FCB3}" type="datetimeFigureOut">
              <a:rPr lang="en-GB" smtClean="0"/>
              <a:t>16/12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CF39F39-4864-4B19-80F3-487D85C47A0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6918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25E6AD-6B24-48F3-BB85-E105A647327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139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/>
              <a:t>QMS is a new addition to the TEOA tool set which establishes a link to quality right at the beginning of a TEOA site deploym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9F39-4864-4B19-80F3-487D85C47A0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9120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9F39-4864-4B19-80F3-487D85C47A0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9313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9F39-4864-4B19-80F3-487D85C47A0D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777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ri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D85FE49A-437C-3640-8C56-0B8BCAB424CD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76800" y="0"/>
            <a:ext cx="7315200" cy="6858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Primary: Click to Add Presentation Title in Arial Bold 34pt.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83185"/>
            <a:ext cx="4133088" cy="12400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/ Author Na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711A761-901E-B846-B74B-96C382ADCDD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3A4607-8514-5241-BC9C-9E5080C7AF8C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3C6BFCEF-CB7A-D245-9621-D646F4E6C4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535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</a:t>
            </a:r>
            <a:br>
              <a:rPr lang="en-US"/>
            </a:br>
            <a:r>
              <a:rPr lang="en-US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1955578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</a:t>
            </a:r>
            <a:br>
              <a:rPr lang="en-US"/>
            </a:br>
            <a:r>
              <a:rPr lang="en-US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1115134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514348" y="1302389"/>
            <a:ext cx="5400000" cy="499681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 in Arial Bold 28pt. Title Case.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6274348" y="1331268"/>
            <a:ext cx="5400000" cy="4963206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57260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48" y="1369770"/>
            <a:ext cx="5400000" cy="2834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514348" y="1909512"/>
            <a:ext cx="5400000" cy="438968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4348" y="1369770"/>
            <a:ext cx="5400000" cy="2834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2000" b="1" dirty="0" smtClean="0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4"/>
          </p:nvPr>
        </p:nvSpPr>
        <p:spPr>
          <a:xfrm>
            <a:off x="6274348" y="1909512"/>
            <a:ext cx="5400000" cy="438968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1532237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194348" y="987426"/>
            <a:ext cx="6480000" cy="53117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200"/>
            </a:lvl3pPr>
            <a:lvl4pPr>
              <a:defRPr sz="1200"/>
            </a:lvl4pPr>
            <a:lvl5pPr>
              <a:defRPr sz="1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48" y="2158148"/>
            <a:ext cx="4320000" cy="41410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14348" y="655819"/>
            <a:ext cx="4320000" cy="12441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41551782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5194348" y="975499"/>
            <a:ext cx="6480000" cy="5323701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48" y="2158148"/>
            <a:ext cx="4320000" cy="415067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4320000" cy="12435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41460340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2637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878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B2664959-46D8-054F-8588-033E387479F3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Click on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2006163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8"/>
            <a:ext cx="3476092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WHEN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TECHNOLOGY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CONNECTS,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SO DOES HUMANITY.</a:t>
            </a:r>
            <a:endParaRPr lang="en-US" sz="7000" b="1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79833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42871169-12A8-1C42-9606-1A70317D6D0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9952" y="3466618"/>
            <a:ext cx="4197096" cy="3391382"/>
          </a:xfrm>
          <a:prstGeom prst="rect">
            <a:avLst/>
          </a:prstGeom>
        </p:spPr>
      </p:pic>
      <p:pic>
        <p:nvPicPr>
          <p:cNvPr id="7" name="Picture 6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D423E103-45C5-C544-AE70-25DAFC51AC46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952" y="0"/>
            <a:ext cx="7242048" cy="340156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Alternate: Click to Add Presentation Title in Arial Bold 34pt.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83185"/>
            <a:ext cx="4133088" cy="12400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/ Author Na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711A761-901E-B846-B74B-96C382ADCDD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3A4607-8514-5241-BC9C-9E5080C7AF8C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3C6BFCEF-CB7A-D245-9621-D646F4E6C43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  <p:pic>
        <p:nvPicPr>
          <p:cNvPr id="5" name="Picture 4" descr="A picture containing indoor, table, kitchen, counter&#10;&#10;Description automatically generated">
            <a:extLst>
              <a:ext uri="{FF2B5EF4-FFF2-40B4-BE49-F238E27FC236}">
                <a16:creationId xmlns:a16="http://schemas.microsoft.com/office/drawing/2014/main" id="{E7F68BC9-693E-254B-8424-514AC712AC2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0200" y="3466618"/>
            <a:ext cx="2971800" cy="339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147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268819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ANY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CONNECTION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CAN CHANGE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THE WORLD</a:t>
            </a:r>
            <a:endParaRPr lang="en-US" sz="7000" b="1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23184058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5182700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CONNECT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LIKE THE WORLD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DEPENDS ON IT.</a:t>
            </a:r>
          </a:p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BECAUSE IT DOES.</a:t>
            </a:r>
            <a:endParaRPr lang="en-US" sz="7000" b="1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16387696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E47A0-F197-4145-BB90-223F07D7D0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BD011F-1DAC-4706-8463-05DA38968C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E3A851-D3CD-4046-BCE9-C829C1F23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FEF03-74CB-4277-8CA2-E9D65FAB4D07}" type="datetimeFigureOut">
              <a:rPr lang="en-GB" smtClean="0"/>
              <a:t>16/12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96EF38-2E99-4028-BD53-6552A7E7A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41E2F1-6F53-464A-8155-64F56EC14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21229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14348" y="655820"/>
            <a:ext cx="1116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16675"/>
            <a:ext cx="4269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919195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514349" y="1465877"/>
            <a:ext cx="11160000" cy="4604723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47536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Single Lin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Add Title in Arial Bold 28pt. Title Case.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514349" y="1296543"/>
            <a:ext cx="11160000" cy="4989957"/>
          </a:xfrm>
          <a:prstGeom prst="rect">
            <a:avLst/>
          </a:prstGeom>
        </p:spPr>
        <p:txBody>
          <a:bodyPr>
            <a:noAutofit/>
          </a:bodyPr>
          <a:lstStyle>
            <a:lvl2pPr marL="457200" indent="-228600">
              <a:tabLst/>
              <a:defRPr/>
            </a:lvl2pPr>
            <a:lvl3pPr marL="866775" indent="-222250">
              <a:tabLst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73800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Two Lines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8015" y="6403974"/>
            <a:ext cx="426914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514349" y="1717964"/>
            <a:ext cx="11160000" cy="457651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18"/>
            <a:ext cx="98298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 in Arial Bold 28pt, Max Two Lines,</a:t>
            </a:r>
            <a:br>
              <a:rPr lang="en-US"/>
            </a:br>
            <a:r>
              <a:rPr lang="en-US"/>
              <a:t>Title Case. </a:t>
            </a:r>
          </a:p>
        </p:txBody>
      </p:sp>
    </p:spTree>
    <p:extLst>
      <p:ext uri="{BB962C8B-B14F-4D97-AF65-F5344CB8AC3E}">
        <p14:creationId xmlns:p14="http://schemas.microsoft.com/office/powerpoint/2010/main" val="445277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E0434DB-3B27-D540-AB97-A58DF145623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CA1A39E-D551-804F-B57E-6C5C466A80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 #1: Click to Add Title in Arial Bold 28pt. Title Case.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C7C431-5C9A-5A48-A38A-31C957BB39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820DBE-C751-1D46-86EB-F9BDD8536B0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7DD8F2F-6B66-B34E-9434-BD1260F62D22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AF696E4D-4639-6D4F-9554-69F1535083D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 area, size: 8” x 7.5”.</a:t>
            </a:r>
            <a:br>
              <a:rPr lang="en-US"/>
            </a:br>
            <a:r>
              <a:rPr lang="en-US"/>
              <a:t>  See following slide for example.</a:t>
            </a:r>
          </a:p>
        </p:txBody>
      </p:sp>
    </p:spTree>
    <p:extLst>
      <p:ext uri="{BB962C8B-B14F-4D97-AF65-F5344CB8AC3E}">
        <p14:creationId xmlns:p14="http://schemas.microsoft.com/office/powerpoint/2010/main" val="3344723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E0434DB-3B27-D540-AB97-A58DF145623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CA1A39E-D551-804F-B57E-6C5C466A80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 #1: Click to Add Title in Arial Bold 28pt. Title Case.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C7C431-5C9A-5A48-A38A-31C957BB39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820DBE-C751-1D46-86EB-F9BDD8536B0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7DD8F2F-6B66-B34E-9434-BD1260F62D22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Placeholder 5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F1BDFA8B-AFBF-4142-BBF8-9BCBEE138E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76800" y="0"/>
            <a:ext cx="7315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2518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6538FC-2CE5-4C4B-9799-30B0F841B426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93968C-80FF-8944-A2B2-1D658ECECAF0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953533-E534-EF47-83B1-BFE03463253F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 area, size: 8” x 7.5”.</a:t>
            </a:r>
            <a:br>
              <a:rPr lang="en-US"/>
            </a:br>
            <a:r>
              <a:rPr lang="en-US"/>
              <a:t> 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7A0AFB1-2720-244B-A01D-0806512E2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3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74BA31-7895-4B43-BC23-CFEAC02EDD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829693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6538FC-2CE5-4C4B-9799-30B0F841B426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93968C-80FF-8944-A2B2-1D658ECECAF0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953533-E534-EF47-83B1-BFE03463253F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 area, size: 8” x 7.5”.</a:t>
            </a:r>
            <a:br>
              <a:rPr lang="en-US"/>
            </a:br>
            <a:r>
              <a:rPr lang="en-US"/>
              <a:t> 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7A0AFB1-2720-244B-A01D-0806512E2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3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74BA31-7895-4B43-BC23-CFEAC02EDD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123079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</a:t>
            </a:r>
            <a:br>
              <a:rPr lang="en-US"/>
            </a:br>
            <a:r>
              <a:rPr lang="en-US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2708337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7A4191-70D9-48EA-A4AD-67A6841A6D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56353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8" imgW="306" imgH="306" progId="TCLayout.ActiveDocument.1">
                  <p:embed/>
                </p:oleObj>
              </mc:Choice>
              <mc:Fallback>
                <p:oleObj name="think-cell Folie" r:id="rId28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7A4191-70D9-48EA-A4AD-67A6841A6D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0F18B1B-14C1-4D31-AE5B-909A57AD5C1D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9FB4610-7AB1-DE45-895B-A160C586AA51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A81C1CC2-597F-764A-8A90-3F8C75BC1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655820"/>
            <a:ext cx="9880228" cy="4737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A6548F-1EDA-3849-A0DE-A334F27F1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4347" y="1296543"/>
            <a:ext cx="11156400" cy="49668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CB28405B-4E36-3749-A149-C32150EE17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365" y="6400800"/>
            <a:ext cx="426914" cy="42976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ctr" anchorCtr="1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EAC5401-B794-1C4D-A638-798EB2B93A3B}"/>
              </a:ext>
            </a:extLst>
          </p:cNvPr>
          <p:cNvSpPr txBox="1"/>
          <p:nvPr/>
        </p:nvSpPr>
        <p:spPr>
          <a:xfrm>
            <a:off x="1011514" y="6502165"/>
            <a:ext cx="10255926" cy="1932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>
              <a:defRPr/>
            </a:pPr>
            <a:r>
              <a:rPr lang="en-US" sz="800" b="1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© 2020 TE Connectivity.</a:t>
            </a:r>
            <a:r>
              <a:rPr lang="en-US" sz="800" b="1">
                <a:solidFill>
                  <a:schemeClr val="tx1"/>
                </a:solidFill>
                <a:effectLst/>
                <a:latin typeface="Arial"/>
                <a:cs typeface="Arial"/>
              </a:rPr>
              <a:t> </a:t>
            </a:r>
            <a:r>
              <a:rPr lang="en-US" sz="800">
                <a:solidFill>
                  <a:schemeClr val="tx1"/>
                </a:solidFill>
                <a:latin typeface="Arial"/>
                <a:cs typeface="Arial"/>
              </a:rPr>
              <a:t>Confidential &amp; Proprietary. Do not reproduce or distribute externally including non-authorized representatives and distributors. </a:t>
            </a:r>
            <a:r>
              <a:rPr lang="en-US" sz="8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sustainable future by limiting print copies, and recycling paper.</a:t>
            </a:r>
            <a:endParaRPr lang="en-US" sz="80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99BD22-669C-A241-B1AD-864FE94B365C}"/>
              </a:ext>
            </a:extLst>
          </p:cNvPr>
          <p:cNvCxnSpPr>
            <a:cxnSpLocks/>
          </p:cNvCxnSpPr>
          <p:nvPr/>
        </p:nvCxnSpPr>
        <p:spPr>
          <a:xfrm>
            <a:off x="0" y="6851527"/>
            <a:ext cx="12192000" cy="0"/>
          </a:xfrm>
          <a:prstGeom prst="line">
            <a:avLst/>
          </a:prstGeom>
          <a:ln w="444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163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hyperlink" Target="https://dmtec.tycoelectronics.com/dmtec/documentDelivery/getFile?deliverableId=00000000000019C056E707DE0009C563&amp;docType=Form&amp;docName=5318&amp;docRev=2015-04-29&amp;fileName=ENG_FO_5318_2015-04-29(764634).xls&amp;filePreference=English:xls" TargetMode="External"/><Relationship Id="rId7" Type="http://schemas.openxmlformats.org/officeDocument/2006/relationships/slide" Target="slide3.xml"/><Relationship Id="rId2" Type="http://schemas.openxmlformats.org/officeDocument/2006/relationships/hyperlink" Target="https://teams.connect.te.com/sites/ADMPlanning/OceansideTecate%20Shared/TEOA/FRB/TEC_407-1310_SOP_FRB.pdf#search=TEC%20407%2D1310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11" Type="http://schemas.openxmlformats.org/officeDocument/2006/relationships/image" Target="../media/image28.png"/><Relationship Id="rId5" Type="http://schemas.openxmlformats.org/officeDocument/2006/relationships/image" Target="../media/image11.png"/><Relationship Id="rId10" Type="http://schemas.openxmlformats.org/officeDocument/2006/relationships/image" Target="../media/image13.png"/><Relationship Id="rId4" Type="http://schemas.openxmlformats.org/officeDocument/2006/relationships/slide" Target="slide5.xml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11.png"/><Relationship Id="rId7" Type="http://schemas.openxmlformats.org/officeDocument/2006/relationships/image" Target="../media/image29.png"/><Relationship Id="rId2" Type="http://schemas.openxmlformats.org/officeDocument/2006/relationships/slide" Target="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slide" Target="slide3.xml"/><Relationship Id="rId10" Type="http://schemas.openxmlformats.org/officeDocument/2006/relationships/image" Target="../media/image31.png"/><Relationship Id="rId4" Type="http://schemas.openxmlformats.org/officeDocument/2006/relationships/image" Target="../media/image12.svg"/><Relationship Id="rId9" Type="http://schemas.openxmlformats.org/officeDocument/2006/relationships/hyperlink" Target="https://dmtec.tycoelectronics.com/dmtec/documentDelivery/getFile?deliverableId=00000000000019C056E707DE0009C563&amp;docType=Form&amp;docName=5318&amp;docRev=2015-04-29&amp;fileName=ENG_FO_5318_2015-04-29(764634).xls&amp;filePreference=English:xls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" Target="slide5.xml"/><Relationship Id="rId7" Type="http://schemas.openxmlformats.org/officeDocument/2006/relationships/image" Target="../media/image21.png"/><Relationship Id="rId2" Type="http://schemas.openxmlformats.org/officeDocument/2006/relationships/hyperlink" Target="https://dmtec.tycoelectronics.com/dmtec/documentDelivery/getFile/ENG_SS_TEC-1054_B.pdf?deliverableId=0000000000008C3E5F21C7210006CD48" TargetMode="External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4.png"/><Relationship Id="rId7" Type="http://schemas.openxmlformats.org/officeDocument/2006/relationships/slide" Target="slide5.xm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11" Type="http://schemas.openxmlformats.org/officeDocument/2006/relationships/image" Target="../media/image21.png"/><Relationship Id="rId5" Type="http://schemas.openxmlformats.org/officeDocument/2006/relationships/image" Target="../media/image36.png"/><Relationship Id="rId10" Type="http://schemas.openxmlformats.org/officeDocument/2006/relationships/slide" Target="slide3.xml"/><Relationship Id="rId4" Type="http://schemas.openxmlformats.org/officeDocument/2006/relationships/image" Target="../media/image35.png"/><Relationship Id="rId9" Type="http://schemas.openxmlformats.org/officeDocument/2006/relationships/image" Target="../media/image12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hyperlink" Target="http://sdp.us.tycoelectronics.com/SDPReportDetail.aspx?RTID=1&amp;SID=637280715416608683&amp;PrevURL=SDPSearch.aspx?SID%3d637280715416608683" TargetMode="External"/><Relationship Id="rId7" Type="http://schemas.openxmlformats.org/officeDocument/2006/relationships/slide" Target="slide3.xm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slide" Target="slide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" Target="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9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13" Type="http://schemas.openxmlformats.org/officeDocument/2006/relationships/image" Target="../media/image25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12" Type="http://schemas.openxmlformats.org/officeDocument/2006/relationships/hyperlink" Target="https://learnte.connect.te.com/Pages/ContentDetails.aspx?ContentID=15847&amp;Srchfrm=Catalog%20Search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11" Type="http://schemas.openxmlformats.org/officeDocument/2006/relationships/hyperlink" Target="https://learnte.connect.te.com/Pages/CatalogSearch.aspx#k=QMS" TargetMode="External"/><Relationship Id="rId5" Type="http://schemas.openxmlformats.org/officeDocument/2006/relationships/hyperlink" Target="https://dmtec.tycoelectronics.com/dmtec/documentDelivery/getFile/ENG_SS_TEC-1000_G.pdf?deliverableId=0000000000000D855B9925F50000ED2A&amp;docType=Specification+Or+Standard&amp;docName=TEC-1000&amp;docRev=G&amp;fileName=ENG_SS_TEC-1000_G.pdf&amp;filePreference=English:pdf" TargetMode="Externa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1.png"/><Relationship Id="rId1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image" Target="../media/image21.pn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slide" Target="slide3.xml"/><Relationship Id="rId2" Type="http://schemas.openxmlformats.org/officeDocument/2006/relationships/slide" Target="slide18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image" Target="../media/image15.sv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32" Type="http://schemas.openxmlformats.org/officeDocument/2006/relationships/image" Target="../media/image12.svg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image" Target="../media/image41.png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image" Target="../media/image11.png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slide" Target="slide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hyperlink" Target="https://dmtec.tycoelectronics.com/dmtec/documentDelivery/getFile/ENG_SS_TEC-1054_B.pdf?deliverableId=0000000000008C3E5F21C7210006CD48" TargetMode="External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slide" Target="slide5.xml"/><Relationship Id="rId5" Type="http://schemas.openxmlformats.org/officeDocument/2006/relationships/image" Target="../media/image21.png"/><Relationship Id="rId4" Type="http://schemas.openxmlformats.org/officeDocument/2006/relationships/slide" Target="slide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18.png"/><Relationship Id="rId3" Type="http://schemas.openxmlformats.org/officeDocument/2006/relationships/slide" Target="slide9.xml"/><Relationship Id="rId7" Type="http://schemas.openxmlformats.org/officeDocument/2006/relationships/image" Target="../media/image14.png"/><Relationship Id="rId12" Type="http://schemas.openxmlformats.org/officeDocument/2006/relationships/slide" Target="slide1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slide" Target="slide4.xml"/><Relationship Id="rId5" Type="http://schemas.openxmlformats.org/officeDocument/2006/relationships/image" Target="../media/image12.svg"/><Relationship Id="rId10" Type="http://schemas.openxmlformats.org/officeDocument/2006/relationships/image" Target="../media/image17.sv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slide" Target="slide15.xml"/><Relationship Id="rId4" Type="http://schemas.openxmlformats.org/officeDocument/2006/relationships/slide" Target="slide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13" Type="http://schemas.openxmlformats.org/officeDocument/2006/relationships/slide" Target="slide18.xml"/><Relationship Id="rId3" Type="http://schemas.openxmlformats.org/officeDocument/2006/relationships/tags" Target="../tags/tag5.xml"/><Relationship Id="rId7" Type="http://schemas.openxmlformats.org/officeDocument/2006/relationships/slide" Target="slide6.xml"/><Relationship Id="rId12" Type="http://schemas.openxmlformats.org/officeDocument/2006/relationships/slide" Target="slide14.xml"/><Relationship Id="rId17" Type="http://schemas.openxmlformats.org/officeDocument/2006/relationships/image" Target="../media/image21.png"/><Relationship Id="rId2" Type="http://schemas.openxmlformats.org/officeDocument/2006/relationships/tags" Target="../tags/tag4.xml"/><Relationship Id="rId16" Type="http://schemas.openxmlformats.org/officeDocument/2006/relationships/slide" Target="slide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slide" Target="slide13.xml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7.svg"/><Relationship Id="rId10" Type="http://schemas.openxmlformats.org/officeDocument/2006/relationships/slide" Target="slide9.xml"/><Relationship Id="rId4" Type="http://schemas.openxmlformats.org/officeDocument/2006/relationships/slideLayout" Target="../slideLayouts/slideLayout12.xml"/><Relationship Id="rId9" Type="http://schemas.openxmlformats.org/officeDocument/2006/relationships/slide" Target="slide8.xml"/><Relationship Id="rId1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13" Type="http://schemas.openxmlformats.org/officeDocument/2006/relationships/image" Target="../media/image22.png"/><Relationship Id="rId3" Type="http://schemas.openxmlformats.org/officeDocument/2006/relationships/tags" Target="../tags/tag7.xml"/><Relationship Id="rId7" Type="http://schemas.openxmlformats.org/officeDocument/2006/relationships/hyperlink" Target="https://dmtec.tycoelectronics.com/dmtec/documentDelivery/getFile/ENG_SS_TEC-1002_P1.pdf?deliverableId=000000000000797B5F2DA9560008D450&amp;docType=Specification+Or+Standard&amp;docName=TEC-1002&amp;docRev=P1&amp;fileName=ENG_SS_TEC-1002_P1.pdf&amp;filePreference=English:pdf" TargetMode="External"/><Relationship Id="rId12" Type="http://schemas.openxmlformats.org/officeDocument/2006/relationships/image" Target="../media/image21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slide" Target="slide3.xml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png"/><Relationship Id="rId1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.xml"/><Relationship Id="rId7" Type="http://schemas.openxmlformats.org/officeDocument/2006/relationships/slide" Target="slide5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4.bin"/><Relationship Id="rId10" Type="http://schemas.openxmlformats.org/officeDocument/2006/relationships/slide" Target="slide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2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1.xml"/><Relationship Id="rId7" Type="http://schemas.openxmlformats.org/officeDocument/2006/relationships/slide" Target="slide5.xml"/><Relationship Id="rId12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5.bin"/><Relationship Id="rId10" Type="http://schemas.openxmlformats.org/officeDocument/2006/relationships/slide" Target="slide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13.png"/><Relationship Id="rId3" Type="http://schemas.openxmlformats.org/officeDocument/2006/relationships/hyperlink" Target="https://communities.connect.te.com/sites/TEchNet/Pages/home.aspx" TargetMode="External"/><Relationship Id="rId7" Type="http://schemas.openxmlformats.org/officeDocument/2006/relationships/slide" Target="slide3.xml"/><Relationship Id="rId12" Type="http://schemas.openxmlformats.org/officeDocument/2006/relationships/hyperlink" Target="https://teams.connect.te.com/sites/TEOA/instructor%20workspace/English%20Modules/TEOA%20122%20Fast%20Respons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11" Type="http://schemas.openxmlformats.org/officeDocument/2006/relationships/image" Target="../media/image25.png"/><Relationship Id="rId5" Type="http://schemas.openxmlformats.org/officeDocument/2006/relationships/image" Target="../media/image11.png"/><Relationship Id="rId10" Type="http://schemas.openxmlformats.org/officeDocument/2006/relationships/hyperlink" Target="https://learnte.connect.te.com/Pages/CatalogSearch.aspx#k=Fast%20response" TargetMode="External"/><Relationship Id="rId4" Type="http://schemas.openxmlformats.org/officeDocument/2006/relationships/slide" Target="slide5.xml"/><Relationship Id="rId9" Type="http://schemas.openxmlformats.org/officeDocument/2006/relationships/image" Target="../media/image24.png"/><Relationship Id="rId1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C6DA5B3-5ECF-4453-84C1-8593A9DA91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ality Foundations Playbook</a:t>
            </a:r>
            <a:br>
              <a:rPr lang="en-US" dirty="0">
                <a:cs typeface="Arial"/>
              </a:rPr>
            </a:br>
            <a:br>
              <a:rPr lang="en-US" dirty="0">
                <a:cs typeface="Arial"/>
              </a:rPr>
            </a:br>
            <a:r>
              <a:rPr lang="en-US" dirty="0">
                <a:cs typeface="Arial"/>
              </a:rPr>
              <a:t>TEC- 406-160017</a:t>
            </a:r>
            <a:br>
              <a:rPr lang="en-US" dirty="0">
                <a:cs typeface="Arial"/>
              </a:rPr>
            </a:br>
            <a:endParaRPr lang="en-GB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7C20FABB-2F15-42F5-9CE9-AA271317BD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August 10th, 2020</a:t>
            </a:r>
            <a:endParaRPr lang="en-GB">
              <a:cs typeface="Arial"/>
            </a:endParaRPr>
          </a:p>
          <a:p>
            <a:endParaRPr lang="en-GB"/>
          </a:p>
          <a:p>
            <a:r>
              <a:rPr lang="en-GB" dirty="0"/>
              <a:t>Global Operations</a:t>
            </a:r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2180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570" y="277642"/>
            <a:ext cx="9829800" cy="457200"/>
          </a:xfrm>
        </p:spPr>
        <p:txBody>
          <a:bodyPr/>
          <a:lstStyle/>
          <a:p>
            <a:r>
              <a:rPr lang="en-GB" dirty="0"/>
              <a:t>4. How to Implement Fast Response.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11535" y="941271"/>
            <a:ext cx="4863589" cy="538152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400" b="1" dirty="0"/>
              <a:t>Diagnose and Design</a:t>
            </a:r>
            <a:endParaRPr lang="en-US" sz="2400" b="1" dirty="0">
              <a:cs typeface="Arial"/>
            </a:endParaRPr>
          </a:p>
          <a:p>
            <a:pPr lvl="1"/>
            <a:r>
              <a:rPr lang="en-US" sz="2000" dirty="0"/>
              <a:t>Using </a:t>
            </a:r>
            <a:r>
              <a:rPr lang="en-US" sz="2000" b="1" dirty="0">
                <a:hlinkClick r:id="rId2"/>
              </a:rPr>
              <a:t>TEC-407-1310</a:t>
            </a:r>
            <a:r>
              <a:rPr lang="en-US" sz="2000" b="1" dirty="0"/>
              <a:t> Fast Response SOP </a:t>
            </a:r>
            <a:r>
              <a:rPr lang="en-US" sz="2000" dirty="0"/>
              <a:t>to establish the Fast response process.</a:t>
            </a:r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Establish the Fast Response</a:t>
            </a:r>
            <a:r>
              <a:rPr lang="en-US" sz="2000" b="1" dirty="0"/>
              <a:t> Board </a:t>
            </a:r>
            <a:r>
              <a:rPr lang="en-US" sz="2000" dirty="0"/>
              <a:t>to support the process.</a:t>
            </a:r>
          </a:p>
          <a:p>
            <a:pPr lvl="2"/>
            <a:r>
              <a:rPr lang="en-US" sz="1800" dirty="0"/>
              <a:t>This can be a physical board or an electronic equivalent.</a:t>
            </a:r>
          </a:p>
          <a:p>
            <a:pPr lvl="2"/>
            <a:endParaRPr lang="en-US" sz="1800" dirty="0"/>
          </a:p>
          <a:p>
            <a:pPr lvl="1"/>
            <a:r>
              <a:rPr lang="en-US" sz="2000" dirty="0"/>
              <a:t>Shop floor problem solving utilizes standardized tools </a:t>
            </a:r>
            <a:r>
              <a:rPr lang="en-US" sz="2000" dirty="0">
                <a:hlinkClick r:id="rId3" tooltip="Clcik here to download the PPSR from DM TEC"/>
              </a:rPr>
              <a:t>Practical Problem Solving Report</a:t>
            </a:r>
            <a:r>
              <a:rPr lang="en-US" sz="2000" dirty="0"/>
              <a:t> (PPSR or equivalent). Ensure this tool is available.</a:t>
            </a:r>
            <a:endParaRPr lang="en-US" sz="2000" dirty="0">
              <a:cs typeface="Arial"/>
            </a:endParaRPr>
          </a:p>
          <a:p>
            <a:pPr marL="644525" lvl="2" indent="0">
              <a:buNone/>
            </a:pPr>
            <a:endParaRPr lang="en-US" sz="2000" dirty="0">
              <a:cs typeface="Arial"/>
            </a:endParaRPr>
          </a:p>
          <a:p>
            <a:endParaRPr lang="en-US" sz="2400" dirty="0"/>
          </a:p>
          <a:p>
            <a:endParaRPr lang="en-US" sz="2400" dirty="0">
              <a:cs typeface="Arial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2AA38A5-6C73-4CC0-BCD7-7EE135AA4FB8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14" name="Graphic 13" descr="List">
              <a:hlinkClick r:id="rId4" action="ppaction://hlinksldjump"/>
              <a:extLst>
                <a:ext uri="{FF2B5EF4-FFF2-40B4-BE49-F238E27FC236}">
                  <a16:creationId xmlns:a16="http://schemas.microsoft.com/office/drawing/2014/main" id="{CD39B020-D418-4D9C-BE21-A392616FD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247B018-71DA-498F-AB13-E526C23A5125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7" name="Picture 16">
            <a:hlinkClick r:id="rId7" action="ppaction://hlinksldjump"/>
            <a:extLst>
              <a:ext uri="{FF2B5EF4-FFF2-40B4-BE49-F238E27FC236}">
                <a16:creationId xmlns:a16="http://schemas.microsoft.com/office/drawing/2014/main" id="{0CAA6C68-5BA6-47CF-B4A4-7856B00488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29208" y="6010937"/>
            <a:ext cx="1508690" cy="7177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25E49C0-2A54-47AA-95B5-501F096ADC9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81001" y="1036364"/>
            <a:ext cx="3218952" cy="42462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D6303D1-7FB2-4378-A064-804E1B70825B}"/>
              </a:ext>
            </a:extLst>
          </p:cNvPr>
          <p:cNvSpPr/>
          <p:nvPr/>
        </p:nvSpPr>
        <p:spPr>
          <a:xfrm>
            <a:off x="5773919" y="5584127"/>
            <a:ext cx="307769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hlinkClick r:id="rId2"/>
              </a:rPr>
              <a:t>TEC-407-1310</a:t>
            </a:r>
            <a:r>
              <a:rPr lang="en-GB" sz="1400" i="1" dirty="0"/>
              <a:t> document describes the fundamental requirements for Fast Respons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D8FAAB-7FA9-4683-B3AE-81285F2D1A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917" y="5563106"/>
            <a:ext cx="503323" cy="50332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A496C1F-282E-4160-829D-B85B8A1CE3F6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8505" r="35866"/>
          <a:stretch/>
        </p:blipFill>
        <p:spPr>
          <a:xfrm>
            <a:off x="9033954" y="1134828"/>
            <a:ext cx="2692989" cy="4588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9046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B649A-0CC1-4852-8FF0-935B99613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792" y="164753"/>
            <a:ext cx="9829800" cy="457200"/>
          </a:xfrm>
        </p:spPr>
        <p:txBody>
          <a:bodyPr/>
          <a:lstStyle/>
          <a:p>
            <a:r>
              <a:rPr lang="en-GB" dirty="0">
                <a:solidFill>
                  <a:srgbClr val="666666"/>
                </a:solidFill>
                <a:latin typeface="Arial"/>
              </a:rPr>
              <a:t>4. How to Implement</a:t>
            </a:r>
            <a:r>
              <a:rPr lang="en-GB" b="1" i="0" u="none" strike="noStrike" dirty="0">
                <a:solidFill>
                  <a:srgbClr val="666666"/>
                </a:solidFill>
                <a:latin typeface="Arial"/>
              </a:rPr>
              <a:t> </a:t>
            </a:r>
            <a:r>
              <a:rPr lang="en-GB" dirty="0">
                <a:solidFill>
                  <a:srgbClr val="666666"/>
                </a:solidFill>
                <a:latin typeface="Arial"/>
              </a:rPr>
              <a:t>Fast Respons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84B201-2B71-4A72-AFC4-81EF2238F94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45294" y="626481"/>
            <a:ext cx="9114590" cy="36673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 b="1" dirty="0">
                <a:ea typeface="+mn-lt"/>
                <a:cs typeface="+mn-lt"/>
              </a:rPr>
              <a:t>Implement</a:t>
            </a:r>
          </a:p>
          <a:p>
            <a:pPr lvl="1"/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Fast response board is integrated into the </a:t>
            </a:r>
            <a:r>
              <a:rPr lang="en-US" sz="1800" b="1" dirty="0">
                <a:solidFill>
                  <a:srgbClr val="666666"/>
                </a:solidFill>
                <a:latin typeface="Arial"/>
                <a:cs typeface="Arial"/>
              </a:rPr>
              <a:t>PIM process 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and reviewed as part of the daily PIM meeting. </a:t>
            </a:r>
          </a:p>
          <a:p>
            <a:pPr lvl="2"/>
            <a:r>
              <a:rPr lang="en-US" sz="1400" dirty="0">
                <a:solidFill>
                  <a:srgbClr val="666666"/>
                </a:solidFill>
                <a:latin typeface="Arial"/>
                <a:cs typeface="Arial"/>
              </a:rPr>
              <a:t>Cross functional participation is in place, such as from Manufacturing, Engineering, Quality, ….</a:t>
            </a:r>
          </a:p>
          <a:p>
            <a:pPr lvl="1"/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Prioritized* </a:t>
            </a:r>
            <a:r>
              <a:rPr lang="en-US" sz="1800" b="1" dirty="0">
                <a:solidFill>
                  <a:srgbClr val="666666"/>
                </a:solidFill>
                <a:latin typeface="Arial"/>
                <a:cs typeface="Arial"/>
              </a:rPr>
              <a:t>external customer, intercompany &amp; internal 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quality complaints / concerns between departments/value streams are captured and managed via Fast Response process, proportional to the potential impact. </a:t>
            </a:r>
            <a:br>
              <a:rPr lang="en-US" sz="1800" dirty="0">
                <a:latin typeface="Arial"/>
                <a:cs typeface="Arial"/>
              </a:rPr>
            </a:br>
            <a:r>
              <a:rPr lang="en-US" sz="1200" i="1" dirty="0">
                <a:solidFill>
                  <a:srgbClr val="666666"/>
                </a:solidFill>
                <a:latin typeface="Arial"/>
                <a:cs typeface="Arial"/>
              </a:rPr>
              <a:t>*Prioritized, based on impact assessment for safety, repetition of occurrence, cost, customer requirement , ECE</a:t>
            </a:r>
            <a:endParaRPr lang="en-US" sz="1200" i="1" dirty="0">
              <a:latin typeface="Arial"/>
              <a:cs typeface="Arial"/>
            </a:endParaRPr>
          </a:p>
          <a:p>
            <a:pPr lvl="1"/>
            <a:r>
              <a:rPr lang="en-US" sz="1800" b="1" dirty="0">
                <a:solidFill>
                  <a:srgbClr val="666666"/>
                </a:solidFill>
                <a:latin typeface="Arial"/>
                <a:cs typeface="Arial"/>
              </a:rPr>
              <a:t>Practical Problem-Solving Report 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is made available in TECHS for transparency and history. 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5CFBFF3-FC55-4A79-BE9A-2D0C416066FE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9" name="Graphic 8" descr="List">
              <a:hlinkClick r:id="rId2" action="ppaction://hlinksldjump"/>
              <a:extLst>
                <a:ext uri="{FF2B5EF4-FFF2-40B4-BE49-F238E27FC236}">
                  <a16:creationId xmlns:a16="http://schemas.microsoft.com/office/drawing/2014/main" id="{8D8A0363-AECF-4BF0-BF98-5B2706BE1C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D596998-4842-4A3C-A627-8FFF655A6F77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1" name="Picture 10">
            <a:hlinkClick r:id="rId5" action="ppaction://hlinksldjump"/>
            <a:extLst>
              <a:ext uri="{FF2B5EF4-FFF2-40B4-BE49-F238E27FC236}">
                <a16:creationId xmlns:a16="http://schemas.microsoft.com/office/drawing/2014/main" id="{873777DC-A0B5-4A77-96B8-05629B040B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83310" y="6061802"/>
            <a:ext cx="1508690" cy="7177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A60EFF-4D08-4B7E-AC36-5B9F1B522B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27143" y="618670"/>
            <a:ext cx="2194066" cy="2046703"/>
          </a:xfrm>
          <a:prstGeom prst="rect">
            <a:avLst/>
          </a:prstGeom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F98EB016-6AB6-480C-9C65-88322EE817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559" y="3725286"/>
            <a:ext cx="4921358" cy="236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AutoShape 73">
            <a:extLst>
              <a:ext uri="{FF2B5EF4-FFF2-40B4-BE49-F238E27FC236}">
                <a16:creationId xmlns:a16="http://schemas.microsoft.com/office/drawing/2014/main" id="{C0D3D641-CF6B-4CFF-8C6A-0632B9ECC6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3044" y="5544501"/>
            <a:ext cx="1508125" cy="544513"/>
          </a:xfrm>
          <a:prstGeom prst="wedgeRectCallout">
            <a:avLst>
              <a:gd name="adj1" fmla="val -156725"/>
              <a:gd name="adj2" fmla="val -21280"/>
            </a:avLst>
          </a:prstGeom>
          <a:solidFill>
            <a:schemeClr val="tx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altLang="nl-BE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 pitchFamily="34" charset="-128"/>
                <a:cs typeface="Arial" charset="0"/>
              </a:rPr>
              <a:t>PPSR’s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altLang="nl-BE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 pitchFamily="34" charset="-128"/>
                <a:cs typeface="Arial" charset="0"/>
              </a:rPr>
              <a:t>Practical Problem Solving Report</a:t>
            </a:r>
            <a:endParaRPr kumimoji="0" lang="en-US" altLang="nl-BE" sz="10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MS PGothic" pitchFamily="34" charset="-128"/>
              <a:cs typeface="Arial" charset="0"/>
            </a:endParaRPr>
          </a:p>
        </p:txBody>
      </p:sp>
      <p:sp>
        <p:nvSpPr>
          <p:cNvPr id="16" name="AutoShape 73">
            <a:extLst>
              <a:ext uri="{FF2B5EF4-FFF2-40B4-BE49-F238E27FC236}">
                <a16:creationId xmlns:a16="http://schemas.microsoft.com/office/drawing/2014/main" id="{D42CB24D-8C6D-47E2-83A0-8D80475C58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2300" y="4290379"/>
            <a:ext cx="1317625" cy="393700"/>
          </a:xfrm>
          <a:prstGeom prst="wedgeRectCallout">
            <a:avLst>
              <a:gd name="adj1" fmla="val -66451"/>
              <a:gd name="adj2" fmla="val 24880"/>
            </a:avLst>
          </a:prstGeom>
          <a:solidFill>
            <a:schemeClr val="tx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altLang="nl-BE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 pitchFamily="34" charset="-128"/>
                <a:cs typeface="Arial" charset="0"/>
              </a:rPr>
              <a:t>PIM Board</a:t>
            </a:r>
            <a:endParaRPr kumimoji="0" lang="en-US" altLang="nl-BE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MS PGothic" pitchFamily="34" charset="-128"/>
              <a:cs typeface="Arial" charset="0"/>
            </a:endParaRPr>
          </a:p>
        </p:txBody>
      </p:sp>
      <p:sp>
        <p:nvSpPr>
          <p:cNvPr id="17" name="AutoShape 73">
            <a:extLst>
              <a:ext uri="{FF2B5EF4-FFF2-40B4-BE49-F238E27FC236}">
                <a16:creationId xmlns:a16="http://schemas.microsoft.com/office/drawing/2014/main" id="{8E4B0BE0-AA3C-41D3-886F-CBD81E6A33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42" y="4484755"/>
            <a:ext cx="1670050" cy="555624"/>
          </a:xfrm>
          <a:prstGeom prst="wedgeRectCallout">
            <a:avLst>
              <a:gd name="adj1" fmla="val 106124"/>
              <a:gd name="adj2" fmla="val -5296"/>
            </a:avLst>
          </a:prstGeom>
          <a:solidFill>
            <a:schemeClr val="tx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altLang="nl-BE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 pitchFamily="34" charset="-128"/>
                <a:cs typeface="Arial" charset="0"/>
              </a:rPr>
              <a:t>Fast Response Board</a:t>
            </a:r>
            <a:endParaRPr kumimoji="0" lang="en-US" altLang="nl-BE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MS PGothic" pitchFamily="34" charset="-128"/>
              <a:cs typeface="Arial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9C9B303-C311-43DA-9556-303768025629}"/>
              </a:ext>
            </a:extLst>
          </p:cNvPr>
          <p:cNvSpPr/>
          <p:nvPr/>
        </p:nvSpPr>
        <p:spPr>
          <a:xfrm>
            <a:off x="2274302" y="6082139"/>
            <a:ext cx="528874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/>
              <a:t>Example of Fast Response Integrated into PIM Proces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CE3A52C-0E89-4817-808F-8BB8E82B0E09}"/>
              </a:ext>
            </a:extLst>
          </p:cNvPr>
          <p:cNvSpPr/>
          <p:nvPr/>
        </p:nvSpPr>
        <p:spPr>
          <a:xfrm>
            <a:off x="9427143" y="2669901"/>
            <a:ext cx="20024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/>
              <a:t>Example of Manual </a:t>
            </a:r>
            <a:r>
              <a:rPr lang="en-GB" sz="1600" dirty="0">
                <a:hlinkClick r:id="rId9" tooltip="Clcik here to download the PPSR from DM TEC"/>
              </a:rPr>
              <a:t>PPSR</a:t>
            </a:r>
            <a:endParaRPr lang="en-GB" sz="16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B5CB30-A31B-497A-A9B0-7158182C2D6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59884" y="3378214"/>
            <a:ext cx="2193991" cy="2161568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6AEA422-DC4F-47E1-9164-2F9C3EDD5CF7}"/>
              </a:ext>
            </a:extLst>
          </p:cNvPr>
          <p:cNvSpPr/>
          <p:nvPr/>
        </p:nvSpPr>
        <p:spPr>
          <a:xfrm>
            <a:off x="9522953" y="5524369"/>
            <a:ext cx="21309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/>
              <a:t>Example of digital PPSR from TECHs</a:t>
            </a:r>
          </a:p>
        </p:txBody>
      </p:sp>
    </p:spTree>
    <p:extLst>
      <p:ext uri="{BB962C8B-B14F-4D97-AF65-F5344CB8AC3E}">
        <p14:creationId xmlns:p14="http://schemas.microsoft.com/office/powerpoint/2010/main" val="25436270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B649A-0CC1-4852-8FF0-935B99613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792" y="164753"/>
            <a:ext cx="9829800" cy="457200"/>
          </a:xfrm>
        </p:spPr>
        <p:txBody>
          <a:bodyPr/>
          <a:lstStyle/>
          <a:p>
            <a:r>
              <a:rPr lang="en-GB" dirty="0">
                <a:solidFill>
                  <a:srgbClr val="666666"/>
                </a:solidFill>
                <a:latin typeface="Arial"/>
              </a:rPr>
              <a:t>4. How to Implement</a:t>
            </a:r>
            <a:r>
              <a:rPr lang="en-GB" b="1" i="0" u="none" strike="noStrike" dirty="0">
                <a:solidFill>
                  <a:srgbClr val="666666"/>
                </a:solidFill>
                <a:latin typeface="Arial"/>
              </a:rPr>
              <a:t> </a:t>
            </a:r>
            <a:r>
              <a:rPr lang="en-GB" dirty="0">
                <a:solidFill>
                  <a:srgbClr val="666666"/>
                </a:solidFill>
                <a:latin typeface="Arial"/>
              </a:rPr>
              <a:t>Fast Respons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84B201-2B71-4A72-AFC4-81EF2238F94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4349" y="771610"/>
            <a:ext cx="7138902" cy="5224637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sz="1800" b="1" dirty="0">
                <a:ea typeface="+mn-lt"/>
                <a:cs typeface="+mn-lt"/>
              </a:rPr>
              <a:t>Sustain</a:t>
            </a:r>
            <a:r>
              <a:rPr lang="en-US" sz="1800" b="1" i="0" dirty="0">
                <a:latin typeface="Arial"/>
              </a:rPr>
              <a:t>​</a:t>
            </a:r>
            <a:endParaRPr lang="en-US" sz="1800" b="1" dirty="0">
              <a:cs typeface="Arial"/>
            </a:endParaRPr>
          </a:p>
          <a:p>
            <a:pPr lvl="1"/>
            <a:r>
              <a:rPr lang="en-US" sz="1800" b="1" i="0" u="none" strike="noStrike" dirty="0">
                <a:solidFill>
                  <a:srgbClr val="666666"/>
                </a:solidFill>
                <a:latin typeface="Arial"/>
                <a:ea typeface="Arial"/>
                <a:cs typeface="Arial"/>
              </a:rPr>
              <a:t>8D </a:t>
            </a:r>
            <a:r>
              <a:rPr lang="en-US" sz="1800" b="1" dirty="0">
                <a:solidFill>
                  <a:srgbClr val="666666"/>
                </a:solidFill>
                <a:latin typeface="Arial"/>
                <a:ea typeface="Arial"/>
                <a:cs typeface="Arial"/>
              </a:rPr>
              <a:t>self-evaluations</a:t>
            </a:r>
            <a:r>
              <a:rPr lang="en-US" sz="1800" b="1" i="0" u="none" strike="noStrike" dirty="0">
                <a:solidFill>
                  <a:srgbClr val="666666"/>
                </a:solidFill>
                <a:latin typeface="Arial"/>
                <a:ea typeface="Arial"/>
                <a:cs typeface="Arial"/>
              </a:rPr>
              <a:t> </a:t>
            </a:r>
            <a:r>
              <a:rPr lang="en-US" sz="1800" b="0" i="0" u="none" strike="noStrike" dirty="0">
                <a:solidFill>
                  <a:srgbClr val="666666"/>
                </a:solidFill>
                <a:latin typeface="Arial"/>
                <a:ea typeface="Arial"/>
                <a:cs typeface="Arial"/>
              </a:rPr>
              <a:t>are conducted and score an average of &gt;80%.</a:t>
            </a:r>
            <a:r>
              <a:rPr lang="en-US" sz="1800" dirty="0">
                <a:latin typeface="Arial"/>
                <a:ea typeface="Arial"/>
                <a:cs typeface="Arial"/>
              </a:rPr>
              <a:t> </a:t>
            </a:r>
            <a:r>
              <a:rPr lang="en-US" sz="1800" b="0" i="0" dirty="0">
                <a:latin typeface="Arial"/>
                <a:ea typeface="Arial"/>
                <a:cs typeface="Arial"/>
              </a:rPr>
              <a:t>​</a:t>
            </a:r>
            <a:r>
              <a:rPr lang="en-US" sz="1800" dirty="0">
                <a:latin typeface="Arial"/>
                <a:ea typeface="Arial"/>
                <a:cs typeface="Arial"/>
              </a:rPr>
              <a:t>Ref </a:t>
            </a:r>
            <a:r>
              <a:rPr lang="en-US" sz="1800" dirty="0">
                <a:latin typeface="Arial"/>
                <a:ea typeface="Arial"/>
                <a:cs typeface="Arial"/>
                <a:hlinkClick r:id="rId2"/>
              </a:rPr>
              <a:t>TEC-1054</a:t>
            </a:r>
            <a:r>
              <a:rPr lang="en-US" sz="1800" dirty="0">
                <a:latin typeface="Arial"/>
                <a:ea typeface="Arial"/>
                <a:cs typeface="Arial"/>
              </a:rPr>
              <a:t> for monitoring of compliance and team coaching. </a:t>
            </a:r>
          </a:p>
          <a:p>
            <a:pPr lvl="1"/>
            <a:r>
              <a:rPr lang="en-US" sz="1800" dirty="0">
                <a:latin typeface="Arial"/>
                <a:ea typeface="Arial"/>
                <a:cs typeface="Arial"/>
              </a:rPr>
              <a:t>Assessment </a:t>
            </a:r>
            <a:r>
              <a:rPr lang="en-US" sz="1800" b="1" dirty="0">
                <a:latin typeface="Arial"/>
                <a:ea typeface="Arial"/>
                <a:cs typeface="Arial"/>
              </a:rPr>
              <a:t>dashboard </a:t>
            </a:r>
            <a:r>
              <a:rPr lang="en-US" sz="1800" b="1">
                <a:latin typeface="Arial"/>
                <a:ea typeface="Arial"/>
                <a:cs typeface="Arial"/>
              </a:rPr>
              <a:t>in TECHs</a:t>
            </a:r>
            <a:r>
              <a:rPr lang="en-US" sz="1800" dirty="0">
                <a:latin typeface="Arial"/>
                <a:ea typeface="Arial"/>
                <a:cs typeface="Arial"/>
              </a:rPr>
              <a:t> is used for continuous improvement on the 8D scoring.</a:t>
            </a:r>
            <a:endParaRPr lang="en-US" sz="1600" dirty="0">
              <a:latin typeface="Arial"/>
              <a:ea typeface="Arial"/>
              <a:cs typeface="Arial"/>
            </a:endParaRPr>
          </a:p>
          <a:p>
            <a:pPr lvl="1"/>
            <a:r>
              <a:rPr lang="en-US" sz="1800" b="1" i="0" u="none" strike="noStrike" dirty="0">
                <a:solidFill>
                  <a:srgbClr val="666666"/>
                </a:solidFill>
                <a:latin typeface="Arial"/>
                <a:ea typeface="Arial"/>
                <a:cs typeface="Arial"/>
              </a:rPr>
              <a:t>Read across / lessons learned</a:t>
            </a:r>
            <a:r>
              <a:rPr lang="en-US" sz="1800" b="0" i="0" u="none" strike="noStrike" dirty="0">
                <a:solidFill>
                  <a:srgbClr val="666666"/>
                </a:solidFill>
                <a:latin typeface="Arial"/>
                <a:ea typeface="Arial"/>
                <a:cs typeface="Arial"/>
              </a:rPr>
              <a:t> is considered and implemented</a:t>
            </a:r>
            <a:r>
              <a:rPr lang="en-US" sz="1800" b="0" i="0" dirty="0">
                <a:latin typeface="Arial"/>
                <a:ea typeface="Arial"/>
                <a:cs typeface="Arial"/>
              </a:rPr>
              <a:t>​</a:t>
            </a:r>
            <a:r>
              <a:rPr lang="en-US" sz="1800" dirty="0">
                <a:latin typeface="Arial"/>
                <a:ea typeface="Arial"/>
                <a:cs typeface="Arial"/>
              </a:rPr>
              <a:t>. </a:t>
            </a:r>
            <a:br>
              <a:rPr lang="en-US" sz="1800" dirty="0">
                <a:latin typeface="Arial"/>
              </a:rPr>
            </a:br>
            <a:r>
              <a:rPr lang="en-US" sz="1600" b="0" i="0" u="none" strike="noStrike" dirty="0">
                <a:solidFill>
                  <a:srgbClr val="666666"/>
                </a:solidFill>
                <a:latin typeface="Arial"/>
              </a:rPr>
              <a:t>- </a:t>
            </a:r>
            <a:r>
              <a:rPr lang="en-US" sz="1600" dirty="0">
                <a:solidFill>
                  <a:srgbClr val="666666"/>
                </a:solidFill>
                <a:latin typeface="Arial"/>
              </a:rPr>
              <a:t>Internal</a:t>
            </a:r>
            <a:r>
              <a:rPr lang="en-US" sz="1600" b="0" i="0" u="none" strike="noStrike" dirty="0">
                <a:solidFill>
                  <a:srgbClr val="666666"/>
                </a:solidFill>
                <a:latin typeface="Arial"/>
              </a:rPr>
              <a:t>, </a:t>
            </a:r>
            <a:r>
              <a:rPr lang="en-US" sz="1600" dirty="0">
                <a:solidFill>
                  <a:srgbClr val="666666"/>
                </a:solidFill>
                <a:latin typeface="Arial"/>
              </a:rPr>
              <a:t>the</a:t>
            </a:r>
            <a:r>
              <a:rPr lang="en-US" sz="1600" b="0" i="0" u="none" strike="noStrike" dirty="0">
                <a:solidFill>
                  <a:srgbClr val="666666"/>
                </a:solidFill>
                <a:latin typeface="Arial"/>
              </a:rPr>
              <a:t> Value Stream owner </a:t>
            </a:r>
            <a:r>
              <a:rPr lang="en-US" sz="1600" dirty="0">
                <a:solidFill>
                  <a:srgbClr val="666666"/>
                </a:solidFill>
                <a:latin typeface="Arial"/>
              </a:rPr>
              <a:t>is assigned the  </a:t>
            </a:r>
            <a:r>
              <a:rPr lang="en-US" sz="1600" b="0" i="0" u="none" strike="noStrike" dirty="0">
                <a:solidFill>
                  <a:srgbClr val="666666"/>
                </a:solidFill>
                <a:latin typeface="Arial"/>
              </a:rPr>
              <a:t>responsibility for implementation, tracking via local plant methods. (exp. PIM,..)</a:t>
            </a:r>
            <a:r>
              <a:rPr lang="en-US" sz="1600" b="0" i="0" dirty="0">
                <a:latin typeface="Arial"/>
              </a:rPr>
              <a:t>​</a:t>
            </a:r>
            <a:br>
              <a:rPr lang="en-US" sz="1600" dirty="0">
                <a:latin typeface="Arial"/>
              </a:rPr>
            </a:br>
            <a:r>
              <a:rPr lang="en-US" sz="1600" b="0" i="0" u="none" strike="noStrike" dirty="0">
                <a:solidFill>
                  <a:srgbClr val="666666"/>
                </a:solidFill>
                <a:latin typeface="Arial"/>
              </a:rPr>
              <a:t>- </a:t>
            </a:r>
            <a:r>
              <a:rPr lang="en-US" sz="1600" dirty="0">
                <a:solidFill>
                  <a:srgbClr val="666666"/>
                </a:solidFill>
                <a:latin typeface="Arial"/>
              </a:rPr>
              <a:t>External</a:t>
            </a:r>
            <a:r>
              <a:rPr lang="en-US" sz="1600" b="0" i="0" u="none" strike="noStrike" dirty="0">
                <a:solidFill>
                  <a:srgbClr val="666666"/>
                </a:solidFill>
                <a:latin typeface="Arial"/>
              </a:rPr>
              <a:t>, </a:t>
            </a:r>
            <a:r>
              <a:rPr lang="en-US" sz="1600" dirty="0">
                <a:solidFill>
                  <a:srgbClr val="666666"/>
                </a:solidFill>
                <a:latin typeface="Arial"/>
              </a:rPr>
              <a:t>the</a:t>
            </a:r>
            <a:r>
              <a:rPr lang="en-US" sz="1600" b="0" i="0" u="none" strike="noStrike" dirty="0">
                <a:solidFill>
                  <a:srgbClr val="666666"/>
                </a:solidFill>
                <a:latin typeface="Arial"/>
              </a:rPr>
              <a:t> Quality Manager will submit the potential read across actions to the regional quality leader for review and disposition.</a:t>
            </a:r>
            <a:r>
              <a:rPr lang="en-US" sz="1600" b="0" i="0" dirty="0">
                <a:latin typeface="Arial"/>
              </a:rPr>
              <a:t>​</a:t>
            </a:r>
            <a:endParaRPr lang="en-US" sz="1600" dirty="0">
              <a:latin typeface="Arial"/>
              <a:cs typeface="Arial"/>
            </a:endParaRPr>
          </a:p>
          <a:p>
            <a:pPr lvl="1"/>
            <a:r>
              <a:rPr lang="en-US" sz="1800" dirty="0">
                <a:latin typeface="Arial"/>
                <a:cs typeface="Arial"/>
              </a:rPr>
              <a:t>FMEA tool is used for know-how management on failure modes, for future risk assessments . Connection is made between master FMEA's </a:t>
            </a:r>
            <a:r>
              <a:rPr lang="en-US" sz="1800" dirty="0">
                <a:latin typeface="Arial"/>
              </a:rPr>
              <a:t>and consolidated lessons Learned for main failure modes. </a:t>
            </a:r>
            <a:r>
              <a:rPr lang="en-US" sz="1600" b="0" i="0" dirty="0">
                <a:latin typeface="Arial"/>
              </a:rPr>
              <a:t>​</a:t>
            </a:r>
            <a:endParaRPr lang="en-US" sz="1600" b="0" i="0" dirty="0">
              <a:latin typeface="Arial"/>
              <a:cs typeface="Arial"/>
            </a:endParaRPr>
          </a:p>
          <a:p>
            <a:pPr lvl="1" algn="l" rtl="0">
              <a:buChar char="•"/>
            </a:pPr>
            <a:endParaRPr lang="en-US" sz="1600" b="0" i="0" dirty="0">
              <a:latin typeface="Arial"/>
              <a:ea typeface="Arial"/>
              <a:cs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5CFBFF3-FC55-4A79-BE9A-2D0C416066FE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9" name="Graphic 8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8D8A0363-AECF-4BF0-BF98-5B2706BE1C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D596998-4842-4A3C-A627-8FFF655A6F77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1" name="Picture 10">
            <a:hlinkClick r:id="rId6" action="ppaction://hlinksldjump"/>
            <a:extLst>
              <a:ext uri="{FF2B5EF4-FFF2-40B4-BE49-F238E27FC236}">
                <a16:creationId xmlns:a16="http://schemas.microsoft.com/office/drawing/2014/main" id="{873777DC-A0B5-4A77-96B8-05629B040B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29208" y="6010937"/>
            <a:ext cx="1508690" cy="71778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BDDFC6-36C3-4C3B-B038-508A029B14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87383" y="800139"/>
            <a:ext cx="3586938" cy="43375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CE373E8-E0A3-4CA4-BA2A-0CE8AEFA42CA}"/>
              </a:ext>
            </a:extLst>
          </p:cNvPr>
          <p:cNvSpPr/>
          <p:nvPr/>
        </p:nvSpPr>
        <p:spPr>
          <a:xfrm>
            <a:off x="8342801" y="5315868"/>
            <a:ext cx="363306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hlinkClick r:id="rId2"/>
              </a:rPr>
              <a:t>TEC-1054</a:t>
            </a:r>
            <a:r>
              <a:rPr lang="en-GB" sz="1400" i="1" dirty="0"/>
              <a:t> document describes comprehensive audit methodology to assess the quality of the 8D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3BC30E-96D4-4667-BFFC-A5C51A1082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08799" y="5294847"/>
            <a:ext cx="503323" cy="50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8006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6D882-E1E9-43C1-9925-8D6CDACE3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659" y="192976"/>
            <a:ext cx="9829800" cy="457200"/>
          </a:xfrm>
        </p:spPr>
        <p:txBody>
          <a:bodyPr/>
          <a:lstStyle/>
          <a:p>
            <a:r>
              <a:rPr lang="en-GB"/>
              <a:t>5. Fast Response Best Practice Examples </a:t>
            </a:r>
          </a:p>
        </p:txBody>
      </p:sp>
      <p:pic>
        <p:nvPicPr>
          <p:cNvPr id="8" name="Picture 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A4D10AF8-D063-43AB-BF42-382082DB0C3D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 rotWithShape="1">
          <a:blip r:embed="rId2"/>
          <a:srcRect r="35269"/>
          <a:stretch/>
        </p:blipFill>
        <p:spPr>
          <a:xfrm>
            <a:off x="4165807" y="4194922"/>
            <a:ext cx="2876685" cy="1067801"/>
          </a:xfrm>
        </p:spPr>
      </p:pic>
      <p:pic>
        <p:nvPicPr>
          <p:cNvPr id="10" name="Picture 10" descr="A close up of a map&#10;&#10;Description generated with high confidence">
            <a:extLst>
              <a:ext uri="{FF2B5EF4-FFF2-40B4-BE49-F238E27FC236}">
                <a16:creationId xmlns:a16="http://schemas.microsoft.com/office/drawing/2014/main" id="{EF4AC14E-2F2B-4185-86C1-D11951386E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229" y="3677279"/>
            <a:ext cx="2700101" cy="219304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5FDA2A7-3F6F-4C51-9FE5-E3B12FFE1700}"/>
              </a:ext>
            </a:extLst>
          </p:cNvPr>
          <p:cNvSpPr txBox="1"/>
          <p:nvPr/>
        </p:nvSpPr>
        <p:spPr>
          <a:xfrm>
            <a:off x="7735691" y="2860774"/>
            <a:ext cx="2873188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/>
              <a:t>Consolidated lessons Learned on occurrence and non-detection, related to a specific failure mo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1BAFB4-DE47-449D-892E-4E4C39B11B04}"/>
              </a:ext>
            </a:extLst>
          </p:cNvPr>
          <p:cNvSpPr txBox="1"/>
          <p:nvPr/>
        </p:nvSpPr>
        <p:spPr>
          <a:xfrm>
            <a:off x="874403" y="5822724"/>
            <a:ext cx="2672287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/>
              <a:t>Integration</a:t>
            </a:r>
            <a:r>
              <a:rPr lang="en-US" sz="1600"/>
              <a:t> in master FME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278D79-925F-4ADD-8EB5-784E8D22C58A}"/>
              </a:ext>
            </a:extLst>
          </p:cNvPr>
          <p:cNvSpPr txBox="1"/>
          <p:nvPr/>
        </p:nvSpPr>
        <p:spPr>
          <a:xfrm>
            <a:off x="4553654" y="5513418"/>
            <a:ext cx="2587239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cs typeface="Arial"/>
              </a:rPr>
              <a:t>Read Across through SDP repository</a:t>
            </a:r>
            <a:endParaRPr lang="en-US" sz="14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D1F050-7C35-47ED-8D7B-414059FE2C65}"/>
              </a:ext>
            </a:extLst>
          </p:cNvPr>
          <p:cNvSpPr txBox="1"/>
          <p:nvPr/>
        </p:nvSpPr>
        <p:spPr>
          <a:xfrm>
            <a:off x="1321779" y="3209785"/>
            <a:ext cx="2156817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/>
              <a:t>PPSR in Tech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BEF70E-7DED-4D9C-B94D-08CF000E3C9E}"/>
              </a:ext>
            </a:extLst>
          </p:cNvPr>
          <p:cNvSpPr txBox="1"/>
          <p:nvPr/>
        </p:nvSpPr>
        <p:spPr>
          <a:xfrm>
            <a:off x="4511487" y="2970452"/>
            <a:ext cx="2231522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/>
              <a:t>Techs Fast Response Dashboard tracking </a:t>
            </a:r>
            <a:endParaRPr lang="en-US" sz="1600"/>
          </a:p>
        </p:txBody>
      </p:sp>
      <p:pic>
        <p:nvPicPr>
          <p:cNvPr id="3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F3B28AEB-14D1-4917-98E3-75F2B810BE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4026" y="1284803"/>
            <a:ext cx="2085788" cy="1824590"/>
          </a:xfrm>
          <a:prstGeom prst="rect">
            <a:avLst/>
          </a:prstGeom>
        </p:spPr>
      </p:pic>
      <p:pic>
        <p:nvPicPr>
          <p:cNvPr id="16" name="Picture 16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3B22D847-5C14-4179-B822-C96C6F0F87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1983" y="1413519"/>
            <a:ext cx="2929965" cy="135081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50BBDF5-25FD-405F-8962-E826EEAF6513}"/>
              </a:ext>
            </a:extLst>
          </p:cNvPr>
          <p:cNvSpPr/>
          <p:nvPr/>
        </p:nvSpPr>
        <p:spPr>
          <a:xfrm>
            <a:off x="7423971" y="1186179"/>
            <a:ext cx="3137647" cy="242301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C3D670-EFB8-428B-97E3-70425D68F3CB}"/>
              </a:ext>
            </a:extLst>
          </p:cNvPr>
          <p:cNvSpPr/>
          <p:nvPr/>
        </p:nvSpPr>
        <p:spPr>
          <a:xfrm>
            <a:off x="609301" y="3754119"/>
            <a:ext cx="3137647" cy="242301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C6E1200-591C-4B57-8CE5-F7202F5C818B}"/>
              </a:ext>
            </a:extLst>
          </p:cNvPr>
          <p:cNvSpPr/>
          <p:nvPr/>
        </p:nvSpPr>
        <p:spPr>
          <a:xfrm>
            <a:off x="4020820" y="3754119"/>
            <a:ext cx="3130476" cy="242301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2096DB7-5B89-4F98-A0EB-D17FD2CFF996}"/>
              </a:ext>
            </a:extLst>
          </p:cNvPr>
          <p:cNvSpPr/>
          <p:nvPr/>
        </p:nvSpPr>
        <p:spPr>
          <a:xfrm>
            <a:off x="604071" y="1183340"/>
            <a:ext cx="3137646" cy="242046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0F18322-F66B-45EE-BEFE-28A230460426}"/>
              </a:ext>
            </a:extLst>
          </p:cNvPr>
          <p:cNvSpPr/>
          <p:nvPr/>
        </p:nvSpPr>
        <p:spPr>
          <a:xfrm>
            <a:off x="4015440" y="1190960"/>
            <a:ext cx="3137646" cy="242046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EDA7211B-3DED-4C74-BECB-AE9D927F51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5518" y="1304678"/>
            <a:ext cx="2847788" cy="1618995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0D87774-2CCB-4B0C-B563-5410525B133D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27" name="Graphic 26" descr="List">
              <a:hlinkClick r:id="rId7" action="ppaction://hlinksldjump"/>
              <a:extLst>
                <a:ext uri="{FF2B5EF4-FFF2-40B4-BE49-F238E27FC236}">
                  <a16:creationId xmlns:a16="http://schemas.microsoft.com/office/drawing/2014/main" id="{136F3664-7DCD-4CA1-B93F-11778027E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6C2160F-4C5F-4A16-AEC3-4FFFE5823FE0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29" name="Picture 28">
            <a:hlinkClick r:id="rId10" action="ppaction://hlinksldjump"/>
            <a:extLst>
              <a:ext uri="{FF2B5EF4-FFF2-40B4-BE49-F238E27FC236}">
                <a16:creationId xmlns:a16="http://schemas.microsoft.com/office/drawing/2014/main" id="{713086DB-D43C-44CF-B047-F15D2EEE882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29208" y="6010937"/>
            <a:ext cx="1508690" cy="71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9161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83C3CB6-15FE-44CC-8402-2C6924E892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9130" y="1519310"/>
            <a:ext cx="6988228" cy="40245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AC61D7C-A265-4BB0-981F-B8C71BD12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281" y="164753"/>
            <a:ext cx="9829800" cy="457200"/>
          </a:xfrm>
        </p:spPr>
        <p:txBody>
          <a:bodyPr/>
          <a:lstStyle/>
          <a:p>
            <a:r>
              <a:rPr lang="en-GB"/>
              <a:t> 6. Access to Shared Best Practices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430E3E94-8A99-4089-8DA5-1B8FCB4573DB}"/>
              </a:ext>
            </a:extLst>
          </p:cNvPr>
          <p:cNvSpPr/>
          <p:nvPr/>
        </p:nvSpPr>
        <p:spPr>
          <a:xfrm>
            <a:off x="3754705" y="5644308"/>
            <a:ext cx="2551346" cy="673189"/>
          </a:xfrm>
          <a:prstGeom prst="wedgeRectCallout">
            <a:avLst>
              <a:gd name="adj1" fmla="val 22144"/>
              <a:gd name="adj2" fmla="val -77673"/>
            </a:avLst>
          </a:prstGeo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hlinkClick r:id="rId3"/>
              </a:rPr>
              <a:t>Click here to search for Fast Response SDPs</a:t>
            </a:r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B5ABF24-023B-4775-8BCF-D2803AA27DA6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15" name="Graphic 14" descr="List">
              <a:hlinkClick r:id="rId4" action="ppaction://hlinksldjump"/>
              <a:extLst>
                <a:ext uri="{FF2B5EF4-FFF2-40B4-BE49-F238E27FC236}">
                  <a16:creationId xmlns:a16="http://schemas.microsoft.com/office/drawing/2014/main" id="{E884331A-48D8-4809-8298-29A8B2E1C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34F40A7-8A5B-4075-B442-FFD3BC6C32B9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7" name="Picture 16">
            <a:hlinkClick r:id="rId7" action="ppaction://hlinksldjump"/>
            <a:extLst>
              <a:ext uri="{FF2B5EF4-FFF2-40B4-BE49-F238E27FC236}">
                <a16:creationId xmlns:a16="http://schemas.microsoft.com/office/drawing/2014/main" id="{AAB75CAB-2904-4CB5-B3A9-6930E77EB2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29208" y="6010937"/>
            <a:ext cx="1508690" cy="71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1827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95FA48-BBE1-4738-B070-9A8D28CAD1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GB"/>
            </a:br>
            <a:r>
              <a:rPr lang="en-GB"/>
              <a:t>QMS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57293B78-A754-4EF7-873B-BD516E25D7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8345" y="4591483"/>
            <a:ext cx="4133088" cy="124358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1600" b="1" i="1"/>
              <a:t>The basis for analysing customer requirements, defining the processes that contribute to the achievement of a product or service that is acceptable to the customer, and provisions for keeping these processes in control. </a:t>
            </a:r>
            <a:endParaRPr lang="en-US" sz="160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C78EC64-6DC9-4F97-8B5C-A8AD8E42D722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9" name="Picture 8">
            <a:hlinkClick r:id="rId2" action="ppaction://hlinksldjump"/>
            <a:extLst>
              <a:ext uri="{FF2B5EF4-FFF2-40B4-BE49-F238E27FC236}">
                <a16:creationId xmlns:a16="http://schemas.microsoft.com/office/drawing/2014/main" id="{2B2D35E7-421B-43D6-8499-DBEEE9326A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74037" y="5743521"/>
            <a:ext cx="1508690" cy="717782"/>
          </a:xfrm>
          <a:prstGeom prst="rect">
            <a:avLst/>
          </a:prstGeom>
        </p:spPr>
      </p:pic>
      <p:pic>
        <p:nvPicPr>
          <p:cNvPr id="6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B05628D1-44EB-4DB2-B735-38F894696C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3349" y="989397"/>
            <a:ext cx="5760792" cy="4025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0276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CE8901-5E54-4A6D-A8CB-D333F4CB211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5843" y="1881080"/>
            <a:ext cx="8214015" cy="452832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>
                <a:ea typeface="+mn-lt"/>
                <a:cs typeface="+mn-lt"/>
              </a:rPr>
              <a:t>Expectations and requirements are written in the corporate document  </a:t>
            </a:r>
            <a:r>
              <a:rPr lang="en-GB" dirty="0">
                <a:ea typeface="+mn-lt"/>
                <a:cs typeface="+mn-lt"/>
                <a:hlinkClick r:id="rId5" tooltip="Click here to access the TEC-1000 Document"/>
              </a:rPr>
              <a:t>TEC-1000</a:t>
            </a:r>
            <a:r>
              <a:rPr lang="en-GB" dirty="0">
                <a:ea typeface="+mn-lt"/>
                <a:cs typeface="+mn-lt"/>
              </a:rPr>
              <a:t> .</a:t>
            </a:r>
          </a:p>
          <a:p>
            <a:pPr marL="342900" indent="-285750">
              <a:buFont typeface="Arial" panose="020B0604020202020204" pitchFamily="34" charset="0"/>
              <a:buChar char="•"/>
            </a:pPr>
            <a:r>
              <a:rPr lang="en-GB" sz="1800" dirty="0">
                <a:ea typeface="+mn-lt"/>
                <a:cs typeface="+mn-lt"/>
              </a:rPr>
              <a:t>QMS is a fundamental element of TEOA.</a:t>
            </a:r>
          </a:p>
          <a:p>
            <a:pPr marL="342900" indent="-285750">
              <a:buFont typeface="Arial" panose="020B0604020202020204" pitchFamily="34" charset="0"/>
              <a:buChar char="•"/>
            </a:pPr>
            <a:r>
              <a:rPr lang="en-GB" sz="1800" dirty="0">
                <a:cs typeface="Arial"/>
              </a:rPr>
              <a:t>QMS is a process-based management system, that combines the requirements from the customer and interested parties in the different steps in the process flow between customer requirements and sustained delivery. </a:t>
            </a:r>
            <a:endParaRPr lang="en-GB" dirty="0">
              <a:cs typeface="Arial"/>
            </a:endParaRPr>
          </a:p>
          <a:p>
            <a:pPr marL="342900" indent="-285750">
              <a:buFont typeface="Arial" panose="020B0604020202020204" pitchFamily="34" charset="0"/>
              <a:buChar char="•"/>
            </a:pPr>
            <a:r>
              <a:rPr lang="en-GB" sz="1800" dirty="0">
                <a:cs typeface="Arial"/>
              </a:rPr>
              <a:t>It shows expectations, sequence and interaction for each of the different steps in the flow.</a:t>
            </a:r>
          </a:p>
          <a:p>
            <a:pPr marL="342900" indent="-285750">
              <a:buFont typeface="Arial" panose="020B0604020202020204" pitchFamily="34" charset="0"/>
              <a:buChar char="•"/>
            </a:pPr>
            <a:r>
              <a:rPr lang="en-GB" sz="1800" dirty="0">
                <a:cs typeface="Arial"/>
              </a:rPr>
              <a:t>Applicable quality management system processes include order entry, design and development engineering, purchasing, production, warehousing, calibration, receiving inspection, and shipping.</a:t>
            </a:r>
            <a:endParaRPr lang="en-GB" sz="1800" dirty="0">
              <a:ea typeface="+mn-lt"/>
              <a:cs typeface="+mn-lt"/>
            </a:endParaRPr>
          </a:p>
          <a:p>
            <a:pPr marL="342900" indent="-285750">
              <a:buFont typeface="Arial" panose="020B0604020202020204" pitchFamily="34" charset="0"/>
              <a:buChar char="•"/>
            </a:pPr>
            <a:r>
              <a:rPr lang="en-GB" sz="1800" dirty="0">
                <a:cs typeface="Arial"/>
              </a:rPr>
              <a:t>Equally included are International industry standards and regulations as applicable to the BU.</a:t>
            </a: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BA96FB5-41D0-42FC-B139-E18A363823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458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BA96FB5-41D0-42FC-B139-E18A36382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90012EB-7B29-45DC-B91D-AB1890641F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0B4ADF-CEFB-40EB-8039-7E47DA62E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212475"/>
            <a:ext cx="9829800" cy="457200"/>
          </a:xfrm>
        </p:spPr>
        <p:txBody>
          <a:bodyPr/>
          <a:lstStyle/>
          <a:p>
            <a:r>
              <a:rPr lang="en-GB" dirty="0"/>
              <a:t>1. QMS Definition</a:t>
            </a:r>
          </a:p>
        </p:txBody>
      </p:sp>
      <p:pic>
        <p:nvPicPr>
          <p:cNvPr id="14" name="Picture 13">
            <a:hlinkClick r:id="rId8" action="ppaction://hlinksldjump"/>
            <a:extLst>
              <a:ext uri="{FF2B5EF4-FFF2-40B4-BE49-F238E27FC236}">
                <a16:creationId xmlns:a16="http://schemas.microsoft.com/office/drawing/2014/main" id="{74FDF158-8BD0-4A9A-A03D-4FFF3CE5806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29208" y="6104436"/>
            <a:ext cx="1508690" cy="71778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E41E1B4-6CBA-455F-AFBB-FBDC249A35FF}"/>
              </a:ext>
            </a:extLst>
          </p:cNvPr>
          <p:cNvSpPr/>
          <p:nvPr/>
        </p:nvSpPr>
        <p:spPr>
          <a:xfrm>
            <a:off x="514349" y="741770"/>
            <a:ext cx="1127309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The </a:t>
            </a:r>
            <a:r>
              <a:rPr lang="en-GB" b="1" dirty="0"/>
              <a:t>TE Quality Management System</a:t>
            </a:r>
            <a:r>
              <a:rPr lang="en-GB" dirty="0"/>
              <a:t> provides the basis for </a:t>
            </a:r>
            <a:r>
              <a:rPr lang="en-GB" b="1" dirty="0"/>
              <a:t>analysing customer requirements</a:t>
            </a:r>
            <a:r>
              <a:rPr lang="en-GB" dirty="0"/>
              <a:t>, defining the processes that contribute to the achievement of a product or service that is acceptable to the customer, and provisions for keeping these processes in control. 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8374CC-4B55-485C-9D27-93E7BEA6AF15}"/>
              </a:ext>
            </a:extLst>
          </p:cNvPr>
          <p:cNvSpPr/>
          <p:nvPr/>
        </p:nvSpPr>
        <p:spPr>
          <a:xfrm>
            <a:off x="9497849" y="3433251"/>
            <a:ext cx="25849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ea typeface="+mn-lt"/>
                <a:cs typeface="+mn-lt"/>
              </a:rPr>
              <a:t>Refer to </a:t>
            </a:r>
            <a:r>
              <a:rPr lang="en-GB" dirty="0">
                <a:ea typeface="+mn-lt"/>
                <a:cs typeface="+mn-lt"/>
                <a:hlinkClick r:id="rId5" tooltip="Click here to access the TEC-1000 Document"/>
              </a:rPr>
              <a:t>TEC-1000</a:t>
            </a:r>
            <a:r>
              <a:rPr lang="en-GB" dirty="0">
                <a:ea typeface="+mn-lt"/>
                <a:cs typeface="+mn-lt"/>
              </a:rPr>
              <a:t> for details regarding QMS.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2EDF5B7-4DE8-41F5-BE5D-192B2832622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94526" y="3451815"/>
            <a:ext cx="503323" cy="50332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47724C8-9616-4CC4-8A29-E8A2CBA388C9}"/>
              </a:ext>
            </a:extLst>
          </p:cNvPr>
          <p:cNvSpPr txBox="1"/>
          <p:nvPr/>
        </p:nvSpPr>
        <p:spPr>
          <a:xfrm>
            <a:off x="9438871" y="4869840"/>
            <a:ext cx="2813114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i="1"/>
            </a:lvl1pPr>
          </a:lstStyle>
          <a:p>
            <a:r>
              <a:rPr lang="en-GB" dirty="0"/>
              <a:t>Additional training on LEARN@TE </a:t>
            </a:r>
            <a:r>
              <a:rPr lang="en-GB" i="0" dirty="0">
                <a:hlinkClick r:id="rId11"/>
              </a:rPr>
              <a:t>Global Quality Management System (QMS)-An Introduction</a:t>
            </a:r>
            <a:endParaRPr lang="en-GB" i="0" dirty="0">
              <a:hlinkClick r:id="rId12"/>
            </a:endParaRPr>
          </a:p>
          <a:p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DA76386-A822-4893-B288-D8733E4AA0E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497849" y="4321648"/>
            <a:ext cx="2027151" cy="54743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0AA8BBD-FC90-41D4-9765-AD3024092B5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94526" y="4868334"/>
            <a:ext cx="503323" cy="50332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A7163C4-94C9-43EA-A5B3-71CF483A39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858721" y="1477526"/>
            <a:ext cx="1457671" cy="18873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352510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C701CA3C-A915-4011-B4A2-8AAB2ACBC7A6}"/>
              </a:ext>
            </a:extLst>
          </p:cNvPr>
          <p:cNvSpPr/>
          <p:nvPr/>
        </p:nvSpPr>
        <p:spPr>
          <a:xfrm rot="16200000">
            <a:off x="-34164" y="1894448"/>
            <a:ext cx="2922535" cy="338554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Cycles of Improvemen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C95C35-BAA1-4914-90A3-613D7F4AFC70}"/>
              </a:ext>
            </a:extLst>
          </p:cNvPr>
          <p:cNvSpPr/>
          <p:nvPr/>
        </p:nvSpPr>
        <p:spPr>
          <a:xfrm>
            <a:off x="1687439" y="602458"/>
            <a:ext cx="7535040" cy="5645453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ADDCEED-361C-4BB5-B265-C4B46F2CC9A4}"/>
              </a:ext>
            </a:extLst>
          </p:cNvPr>
          <p:cNvSpPr/>
          <p:nvPr/>
        </p:nvSpPr>
        <p:spPr>
          <a:xfrm>
            <a:off x="1687048" y="3564394"/>
            <a:ext cx="3248839" cy="265018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4B8ECF-EF1C-4680-A60F-152411818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753" y="70950"/>
            <a:ext cx="9829800" cy="457200"/>
          </a:xfrm>
        </p:spPr>
        <p:txBody>
          <a:bodyPr/>
          <a:lstStyle/>
          <a:p>
            <a:r>
              <a:rPr lang="en-GB" dirty="0"/>
              <a:t>Quality Foundations - Improvement Over ti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8070D-4187-41D8-BFCA-33E70B1ABB2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9482817" y="767018"/>
            <a:ext cx="2420611" cy="2453587"/>
          </a:xfrm>
        </p:spPr>
        <p:txBody>
          <a:bodyPr/>
          <a:lstStyle/>
          <a:p>
            <a:r>
              <a:rPr lang="en-GB" dirty="0"/>
              <a:t>The cycles surrounding Quality Foundations continue to mature as the site evolves over time.</a:t>
            </a:r>
          </a:p>
          <a:p>
            <a:endParaRPr lang="en-GB" dirty="0"/>
          </a:p>
          <a:p>
            <a:r>
              <a:rPr lang="en-GB" dirty="0"/>
              <a:t>See </a:t>
            </a:r>
            <a:r>
              <a:rPr lang="en-GB" dirty="0">
                <a:hlinkClick r:id="rId2" action="ppaction://hlinksldjump"/>
              </a:rPr>
              <a:t>Diagnostic Questions </a:t>
            </a:r>
            <a:r>
              <a:rPr lang="en-GB" dirty="0"/>
              <a:t>on next page to help understand the sites level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291C2E5-5A14-429A-9564-5D749A6BF02F}"/>
              </a:ext>
            </a:extLst>
          </p:cNvPr>
          <p:cNvGraphicFramePr/>
          <p:nvPr/>
        </p:nvGraphicFramePr>
        <p:xfrm>
          <a:off x="2790075" y="3564394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C184D361-1A86-4522-A35E-F8C1D5CFD11F}"/>
              </a:ext>
            </a:extLst>
          </p:cNvPr>
          <p:cNvGraphicFramePr/>
          <p:nvPr/>
        </p:nvGraphicFramePr>
        <p:xfrm>
          <a:off x="4423807" y="2524163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D5388FD-63B9-4E84-98AB-B9054EA5FEAB}"/>
              </a:ext>
            </a:extLst>
          </p:cNvPr>
          <p:cNvGraphicFramePr/>
          <p:nvPr/>
        </p:nvGraphicFramePr>
        <p:xfrm>
          <a:off x="5682077" y="1531380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2E32288-2558-4DB9-9BF0-2ABEE6BD8FC8}"/>
              </a:ext>
            </a:extLst>
          </p:cNvPr>
          <p:cNvGraphicFramePr/>
          <p:nvPr/>
        </p:nvGraphicFramePr>
        <p:xfrm>
          <a:off x="6985741" y="556703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1739862F-DC12-4AEF-970B-127EE3D65DDE}"/>
              </a:ext>
            </a:extLst>
          </p:cNvPr>
          <p:cNvSpPr/>
          <p:nvPr/>
        </p:nvSpPr>
        <p:spPr>
          <a:xfrm>
            <a:off x="5397142" y="6214578"/>
            <a:ext cx="689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Ti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FD340F-F9C3-40FD-9CBF-F003DA05FF9D}"/>
              </a:ext>
            </a:extLst>
          </p:cNvPr>
          <p:cNvSpPr/>
          <p:nvPr/>
        </p:nvSpPr>
        <p:spPr>
          <a:xfrm rot="16200000">
            <a:off x="-668947" y="3269287"/>
            <a:ext cx="32367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Site Quality Foundations Path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67AC675-7E97-452A-9DFA-FA76282CBCE3}"/>
              </a:ext>
            </a:extLst>
          </p:cNvPr>
          <p:cNvSpPr/>
          <p:nvPr/>
        </p:nvSpPr>
        <p:spPr>
          <a:xfrm>
            <a:off x="1662185" y="4629942"/>
            <a:ext cx="1710409" cy="161845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93F74F3A-BC7C-4543-BC51-D590DB1765C3}"/>
              </a:ext>
            </a:extLst>
          </p:cNvPr>
          <p:cNvGraphicFramePr/>
          <p:nvPr/>
        </p:nvGraphicFramePr>
        <p:xfrm>
          <a:off x="1225427" y="4629942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AF2C86E-D0E1-47B9-9877-60E28AC4B4B8}"/>
              </a:ext>
            </a:extLst>
          </p:cNvPr>
          <p:cNvCxnSpPr>
            <a:cxnSpLocks/>
          </p:cNvCxnSpPr>
          <p:nvPr/>
        </p:nvCxnSpPr>
        <p:spPr>
          <a:xfrm>
            <a:off x="1636932" y="6259994"/>
            <a:ext cx="7585547" cy="1898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99E535DD-4EB9-44F1-9819-5EFFF53EAC5C}"/>
              </a:ext>
            </a:extLst>
          </p:cNvPr>
          <p:cNvSpPr/>
          <p:nvPr/>
        </p:nvSpPr>
        <p:spPr>
          <a:xfrm rot="16200000">
            <a:off x="613028" y="5272843"/>
            <a:ext cx="1628154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>
                <a:solidFill>
                  <a:schemeClr val="tx2"/>
                </a:solidFill>
              </a:rPr>
              <a:t>Beginnin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948B0E1-5338-45D5-9AC8-2F1C3CE34C32}"/>
              </a:ext>
            </a:extLst>
          </p:cNvPr>
          <p:cNvSpPr/>
          <p:nvPr/>
        </p:nvSpPr>
        <p:spPr>
          <a:xfrm rot="16200000">
            <a:off x="896229" y="3929789"/>
            <a:ext cx="1061751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Stabilised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7A11616-9FB4-4A3B-A107-49699DDD226A}"/>
              </a:ext>
            </a:extLst>
          </p:cNvPr>
          <p:cNvCxnSpPr>
            <a:cxnSpLocks/>
          </p:cNvCxnSpPr>
          <p:nvPr/>
        </p:nvCxnSpPr>
        <p:spPr>
          <a:xfrm flipV="1">
            <a:off x="1662185" y="528151"/>
            <a:ext cx="0" cy="573374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 descr="Warning">
            <a:extLst>
              <a:ext uri="{FF2B5EF4-FFF2-40B4-BE49-F238E27FC236}">
                <a16:creationId xmlns:a16="http://schemas.microsoft.com/office/drawing/2014/main" id="{A4892D2F-FADD-4B47-BCEE-B3E4377DCBB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222479" y="3314607"/>
            <a:ext cx="631265" cy="63126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3BC8D7D-C3EC-4B88-9ED8-358252E76559}"/>
              </a:ext>
            </a:extLst>
          </p:cNvPr>
          <p:cNvSpPr txBox="1"/>
          <p:nvPr/>
        </p:nvSpPr>
        <p:spPr>
          <a:xfrm>
            <a:off x="9771389" y="3292537"/>
            <a:ext cx="237073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u="sng" dirty="0">
                <a:solidFill>
                  <a:schemeClr val="accent6"/>
                </a:solidFill>
              </a:rPr>
              <a:t>Note </a:t>
            </a:r>
          </a:p>
          <a:p>
            <a:r>
              <a:rPr lang="en-GB" sz="1600" dirty="0">
                <a:solidFill>
                  <a:schemeClr val="accent6"/>
                </a:solidFill>
              </a:rPr>
              <a:t>There that is no formal Assessment for this tool at Star level 3,4 or 5, however the expectation is for the cycles of Improvement to continue as the site matures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330DBEC-26AC-47A1-B6B9-902C3F6E56E4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25" name="Graphic 24" descr="List">
              <a:hlinkClick r:id="rId30" action="ppaction://hlinksldjump"/>
              <a:extLst>
                <a:ext uri="{FF2B5EF4-FFF2-40B4-BE49-F238E27FC236}">
                  <a16:creationId xmlns:a16="http://schemas.microsoft.com/office/drawing/2014/main" id="{1406B4E8-1931-4161-BCBF-447B66B40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1079CE0-CF4A-46F2-BCEF-4B507D06F790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27" name="Picture 26">
            <a:hlinkClick r:id="rId33" action="ppaction://hlinksldjump"/>
            <a:extLst>
              <a:ext uri="{FF2B5EF4-FFF2-40B4-BE49-F238E27FC236}">
                <a16:creationId xmlns:a16="http://schemas.microsoft.com/office/drawing/2014/main" id="{FE3B634A-D580-4E04-BADB-00F4A6C9AE51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0629208" y="6104436"/>
            <a:ext cx="1508690" cy="71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1451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BC779-6352-46C3-A58F-2727C1CB6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466" y="57765"/>
            <a:ext cx="10574829" cy="590706"/>
          </a:xfrm>
        </p:spPr>
        <p:txBody>
          <a:bodyPr/>
          <a:lstStyle/>
          <a:p>
            <a:r>
              <a:rPr lang="en-GB" dirty="0"/>
              <a:t>Questions to Consider around Quality Foundations  Deploy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258F6D-1CC3-4A2D-904A-48D6405DFFE8}"/>
              </a:ext>
            </a:extLst>
          </p:cNvPr>
          <p:cNvSpPr/>
          <p:nvPr/>
        </p:nvSpPr>
        <p:spPr>
          <a:xfrm>
            <a:off x="1160795" y="2738066"/>
            <a:ext cx="10829437" cy="160660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Is the Shop floor utilizing standardized problem solving tools (PPSR or equivalent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Are all external customer complaints and repeated intercompany complaints are captured and managed via fast response proces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Is the Fast response board review integrated into the PIM process?	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Are the 8D self evaluations on the FRB board score achieving an average of 70% or higher using the </a:t>
            </a:r>
            <a:r>
              <a:rPr lang="en-GB" sz="1400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-1054</a:t>
            </a:r>
            <a:r>
              <a:rPr lang="en-GB" sz="1400" dirty="0">
                <a:solidFill>
                  <a:schemeClr val="tx1"/>
                </a:solidFill>
              </a:rPr>
              <a:t> document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Is the assessment dashboard in Techs used for continuous improvement on the 8D scoring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Are read across/lessons learned considered and implemented within the plant where appropriate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68FE5B-9B04-4961-8BAA-10C37ABE456F}"/>
              </a:ext>
            </a:extLst>
          </p:cNvPr>
          <p:cNvSpPr/>
          <p:nvPr/>
        </p:nvSpPr>
        <p:spPr>
          <a:xfrm>
            <a:off x="1160795" y="1026924"/>
            <a:ext cx="10829437" cy="1618646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/>
                </a:solidFill>
              </a:rPr>
              <a:t>Have Site leadership teams completed training on Fast Response &amp; QM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/>
                </a:solidFill>
              </a:rPr>
              <a:t>Have all employees completed SF training to have a understanding of Fast Response and QM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/>
                </a:solidFill>
              </a:rPr>
              <a:t>Are Customer complaints fulfilling the entrance criteria captured and managed via fast response process TEC-407-1310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/>
                </a:solidFill>
              </a:rPr>
              <a:t>Are all external customer complaints captured and managed via fast response process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CA87E0C-4EEC-44BC-8EF7-0A8D6EEA380C}"/>
              </a:ext>
            </a:extLst>
          </p:cNvPr>
          <p:cNvSpPr/>
          <p:nvPr/>
        </p:nvSpPr>
        <p:spPr>
          <a:xfrm>
            <a:off x="1160795" y="4440382"/>
            <a:ext cx="10829437" cy="16640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The expectation is the cycles of improvements will continue as the site matures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C092586-CDCA-46F0-8329-FED5B48EB68B}"/>
              </a:ext>
            </a:extLst>
          </p:cNvPr>
          <p:cNvSpPr/>
          <p:nvPr/>
        </p:nvSpPr>
        <p:spPr>
          <a:xfrm>
            <a:off x="198467" y="1026924"/>
            <a:ext cx="902098" cy="16186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en-GB" sz="2400" dirty="0"/>
              <a:t>Beginn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73AC5A-B37A-4BDC-A3AB-7134A21F7340}"/>
              </a:ext>
            </a:extLst>
          </p:cNvPr>
          <p:cNvSpPr/>
          <p:nvPr/>
        </p:nvSpPr>
        <p:spPr>
          <a:xfrm>
            <a:off x="198466" y="4437162"/>
            <a:ext cx="902099" cy="166727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Cycles of Improve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8DD495D-6063-4692-B8C9-0FB4A3915680}"/>
              </a:ext>
            </a:extLst>
          </p:cNvPr>
          <p:cNvSpPr/>
          <p:nvPr/>
        </p:nvSpPr>
        <p:spPr>
          <a:xfrm>
            <a:off x="198467" y="2738066"/>
            <a:ext cx="902098" cy="160660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Stabilised</a:t>
            </a:r>
          </a:p>
        </p:txBody>
      </p:sp>
      <p:pic>
        <p:nvPicPr>
          <p:cNvPr id="19" name="Picture 18">
            <a:hlinkClick r:id="rId4" action="ppaction://hlinksldjump"/>
            <a:extLst>
              <a:ext uri="{FF2B5EF4-FFF2-40B4-BE49-F238E27FC236}">
                <a16:creationId xmlns:a16="http://schemas.microsoft.com/office/drawing/2014/main" id="{35453CF9-6CE8-4FBD-94F5-421E531C03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29208" y="6104436"/>
            <a:ext cx="1508690" cy="71778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27EDAC98-F3D8-4037-8EB8-A98A31270D5B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22" name="Graphic 21" descr="List">
              <a:hlinkClick r:id="rId6" action="ppaction://hlinksldjump"/>
              <a:extLst>
                <a:ext uri="{FF2B5EF4-FFF2-40B4-BE49-F238E27FC236}">
                  <a16:creationId xmlns:a16="http://schemas.microsoft.com/office/drawing/2014/main" id="{C5E2DAAC-7118-430E-A52E-17801ED398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DDC135A-BFB5-49D4-88B1-F8303B076248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6076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B8338-15AA-4399-AF76-59E48222E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599" y="162158"/>
            <a:ext cx="9334415" cy="457200"/>
          </a:xfrm>
        </p:spPr>
        <p:txBody>
          <a:bodyPr/>
          <a:lstStyle/>
          <a:p>
            <a:r>
              <a:rPr lang="en-GB"/>
              <a:t>Using the Quality Foundations Playbook – What do the Icons Mean?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44CB2AB-45E6-46B2-9610-197C326EE609}"/>
              </a:ext>
            </a:extLst>
          </p:cNvPr>
          <p:cNvGrpSpPr/>
          <p:nvPr/>
        </p:nvGrpSpPr>
        <p:grpSpPr>
          <a:xfrm>
            <a:off x="35768" y="6193279"/>
            <a:ext cx="1289135" cy="664721"/>
            <a:chOff x="8407400" y="5845092"/>
            <a:chExt cx="1289135" cy="672559"/>
          </a:xfrm>
        </p:grpSpPr>
        <p:pic>
          <p:nvPicPr>
            <p:cNvPr id="119" name="Graphic 118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363096E2-6558-4CD8-AFDA-29C8D2297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CB66D116-7BDC-41DA-B5FC-5B6BB93DC4A9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sp>
        <p:nvSpPr>
          <p:cNvPr id="124" name="TextBox 123">
            <a:extLst>
              <a:ext uri="{FF2B5EF4-FFF2-40B4-BE49-F238E27FC236}">
                <a16:creationId xmlns:a16="http://schemas.microsoft.com/office/drawing/2014/main" id="{F2049703-E345-446E-A609-D9F462C3F8AE}"/>
              </a:ext>
            </a:extLst>
          </p:cNvPr>
          <p:cNvSpPr txBox="1"/>
          <p:nvPr/>
        </p:nvSpPr>
        <p:spPr>
          <a:xfrm>
            <a:off x="1531433" y="5501580"/>
            <a:ext cx="37885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lick on the agenda icon to return to the agenda for the current phase 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61C29C5-B17F-4168-94E1-F80E473B264D}"/>
              </a:ext>
            </a:extLst>
          </p:cNvPr>
          <p:cNvSpPr txBox="1"/>
          <p:nvPr/>
        </p:nvSpPr>
        <p:spPr>
          <a:xfrm>
            <a:off x="7311605" y="5685846"/>
            <a:ext cx="2804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lick on the Chart Icon to return to the main page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C192F083-1D84-4524-A8C1-40B8EAF9BC47}"/>
              </a:ext>
            </a:extLst>
          </p:cNvPr>
          <p:cNvCxnSpPr>
            <a:cxnSpLocks/>
            <a:stCxn id="124" idx="1"/>
            <a:endCxn id="119" idx="0"/>
          </p:cNvCxnSpPr>
          <p:nvPr/>
        </p:nvCxnSpPr>
        <p:spPr>
          <a:xfrm flipH="1">
            <a:off x="620556" y="5824746"/>
            <a:ext cx="910877" cy="368533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D4058E68-B8DE-4901-8C6D-F9F9D548A40F}"/>
              </a:ext>
            </a:extLst>
          </p:cNvPr>
          <p:cNvCxnSpPr>
            <a:cxnSpLocks/>
            <a:stCxn id="125" idx="3"/>
            <a:endCxn id="4" idx="1"/>
          </p:cNvCxnSpPr>
          <p:nvPr/>
        </p:nvCxnSpPr>
        <p:spPr>
          <a:xfrm>
            <a:off x="10115773" y="6009012"/>
            <a:ext cx="432198" cy="120305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5EE2B3AB-81A9-4247-BD8E-CF4CFF6C4D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4715" y="4255502"/>
            <a:ext cx="634039" cy="63403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A7A1CCD-FBD6-4477-B96E-B4BFFD154834}"/>
              </a:ext>
            </a:extLst>
          </p:cNvPr>
          <p:cNvSpPr txBox="1"/>
          <p:nvPr/>
        </p:nvSpPr>
        <p:spPr>
          <a:xfrm>
            <a:off x="1491053" y="3972356"/>
            <a:ext cx="38289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ere this Icon is visible refers to a point of information on the subject, linking to additional Playbooks or Training materials for example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09C19D6-C683-4920-82FA-4E20FBBFBBC2}"/>
              </a:ext>
            </a:extLst>
          </p:cNvPr>
          <p:cNvCxnSpPr>
            <a:cxnSpLocks/>
            <a:stCxn id="23" idx="1"/>
            <a:endCxn id="6" idx="3"/>
          </p:cNvCxnSpPr>
          <p:nvPr/>
        </p:nvCxnSpPr>
        <p:spPr>
          <a:xfrm flipH="1">
            <a:off x="1158754" y="4572521"/>
            <a:ext cx="332299" cy="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5" descr="Warning">
            <a:extLst>
              <a:ext uri="{FF2B5EF4-FFF2-40B4-BE49-F238E27FC236}">
                <a16:creationId xmlns:a16="http://schemas.microsoft.com/office/drawing/2014/main" id="{0B3CD08D-A066-4FF4-AF53-8967A35367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4920" y="2776334"/>
            <a:ext cx="631265" cy="63126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7B76138D-9D88-4EC1-AF47-2D190B2DD590}"/>
              </a:ext>
            </a:extLst>
          </p:cNvPr>
          <p:cNvSpPr txBox="1"/>
          <p:nvPr/>
        </p:nvSpPr>
        <p:spPr>
          <a:xfrm>
            <a:off x="1634594" y="2768800"/>
            <a:ext cx="3409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ere this Icon is visible refers to a special Note on the subject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8922269-A5C9-4A70-8CE4-81EEFE07A93C}"/>
              </a:ext>
            </a:extLst>
          </p:cNvPr>
          <p:cNvCxnSpPr>
            <a:cxnSpLocks/>
            <a:stCxn id="27" idx="1"/>
            <a:endCxn id="26" idx="3"/>
          </p:cNvCxnSpPr>
          <p:nvPr/>
        </p:nvCxnSpPr>
        <p:spPr>
          <a:xfrm flipH="1">
            <a:off x="1246185" y="3091966"/>
            <a:ext cx="388409" cy="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34" descr="Speech">
            <a:extLst>
              <a:ext uri="{FF2B5EF4-FFF2-40B4-BE49-F238E27FC236}">
                <a16:creationId xmlns:a16="http://schemas.microsoft.com/office/drawing/2014/main" id="{CD055068-16CD-4A06-928D-2B28CB3D257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4920" y="1643972"/>
            <a:ext cx="641150" cy="64115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EB51E87-CC0C-4E81-8151-260D2054E8F2}"/>
              </a:ext>
            </a:extLst>
          </p:cNvPr>
          <p:cNvSpPr txBox="1"/>
          <p:nvPr/>
        </p:nvSpPr>
        <p:spPr>
          <a:xfrm>
            <a:off x="1621980" y="1641488"/>
            <a:ext cx="3409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ere this Icon is visible refers to a Tip / help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5346EA8-A1B6-4EBB-B433-501825BB4013}"/>
              </a:ext>
            </a:extLst>
          </p:cNvPr>
          <p:cNvCxnSpPr>
            <a:cxnSpLocks/>
            <a:stCxn id="36" idx="1"/>
          </p:cNvCxnSpPr>
          <p:nvPr/>
        </p:nvCxnSpPr>
        <p:spPr>
          <a:xfrm flipH="1">
            <a:off x="1233571" y="1964654"/>
            <a:ext cx="388409" cy="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1901F9A-C7EB-4D2A-9BCA-6DF7AD217B63}"/>
              </a:ext>
            </a:extLst>
          </p:cNvPr>
          <p:cNvGrpSpPr/>
          <p:nvPr/>
        </p:nvGrpSpPr>
        <p:grpSpPr>
          <a:xfrm>
            <a:off x="6234545" y="1291243"/>
            <a:ext cx="4655128" cy="2030383"/>
            <a:chOff x="5974080" y="2169179"/>
            <a:chExt cx="6023957" cy="2814994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887B1FC-A9D8-4DE4-8F65-9D35F354DC0A}"/>
                </a:ext>
              </a:extLst>
            </p:cNvPr>
            <p:cNvSpPr/>
            <p:nvPr/>
          </p:nvSpPr>
          <p:spPr>
            <a:xfrm>
              <a:off x="5974080" y="3142211"/>
              <a:ext cx="2787535" cy="770313"/>
            </a:xfrm>
            <a:prstGeom prst="round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/>
                <a:t>Quality Foundations</a:t>
              </a:r>
            </a:p>
          </p:txBody>
        </p:sp>
        <p:sp>
          <p:nvSpPr>
            <p:cNvPr id="21" name="Rectangle: Rounded Corners 20">
              <a:hlinkClick r:id="rId11" action="ppaction://hlinksldjump"/>
              <a:extLst>
                <a:ext uri="{FF2B5EF4-FFF2-40B4-BE49-F238E27FC236}">
                  <a16:creationId xmlns:a16="http://schemas.microsoft.com/office/drawing/2014/main" id="{9BDFB940-DAF2-4BBB-9388-E977D5A63E83}"/>
                </a:ext>
              </a:extLst>
            </p:cNvPr>
            <p:cNvSpPr/>
            <p:nvPr/>
          </p:nvSpPr>
          <p:spPr>
            <a:xfrm>
              <a:off x="9210502" y="2169179"/>
              <a:ext cx="2787535" cy="770313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/>
                <a:t>Fast Response</a:t>
              </a:r>
            </a:p>
          </p:txBody>
        </p:sp>
        <p:sp>
          <p:nvSpPr>
            <p:cNvPr id="22" name="Rectangle: Rounded Corners 21">
              <a:hlinkClick r:id="rId12" action="ppaction://hlinksldjump"/>
              <a:extLst>
                <a:ext uri="{FF2B5EF4-FFF2-40B4-BE49-F238E27FC236}">
                  <a16:creationId xmlns:a16="http://schemas.microsoft.com/office/drawing/2014/main" id="{573E100D-1D64-4E1A-86B5-084C41A4153A}"/>
                </a:ext>
              </a:extLst>
            </p:cNvPr>
            <p:cNvSpPr/>
            <p:nvPr/>
          </p:nvSpPr>
          <p:spPr>
            <a:xfrm>
              <a:off x="9143999" y="4213860"/>
              <a:ext cx="2787535" cy="770313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/>
                <a:t>QMS</a:t>
              </a:r>
            </a:p>
          </p:txBody>
        </p:sp>
        <p:cxnSp>
          <p:nvCxnSpPr>
            <p:cNvPr id="25" name="Connector: Curved 24">
              <a:extLst>
                <a:ext uri="{FF2B5EF4-FFF2-40B4-BE49-F238E27FC236}">
                  <a16:creationId xmlns:a16="http://schemas.microsoft.com/office/drawing/2014/main" id="{B5FDDFBE-4CA5-4A9E-A0B6-CDC25E21DB44}"/>
                </a:ext>
              </a:extLst>
            </p:cNvPr>
            <p:cNvCxnSpPr>
              <a:cxnSpLocks/>
              <a:stCxn id="20" idx="3"/>
              <a:endCxn id="21" idx="1"/>
            </p:cNvCxnSpPr>
            <p:nvPr/>
          </p:nvCxnSpPr>
          <p:spPr>
            <a:xfrm flipV="1">
              <a:off x="8761615" y="2554336"/>
              <a:ext cx="448887" cy="973032"/>
            </a:xfrm>
            <a:prstGeom prst="curvedConnector3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or: Curved 28">
              <a:extLst>
                <a:ext uri="{FF2B5EF4-FFF2-40B4-BE49-F238E27FC236}">
                  <a16:creationId xmlns:a16="http://schemas.microsoft.com/office/drawing/2014/main" id="{86CE1424-694A-485A-8C29-B6E4445790C4}"/>
                </a:ext>
              </a:extLst>
            </p:cNvPr>
            <p:cNvCxnSpPr>
              <a:stCxn id="20" idx="3"/>
              <a:endCxn id="22" idx="1"/>
            </p:cNvCxnSpPr>
            <p:nvPr/>
          </p:nvCxnSpPr>
          <p:spPr>
            <a:xfrm>
              <a:off x="8761615" y="3527368"/>
              <a:ext cx="382384" cy="1071649"/>
            </a:xfrm>
            <a:prstGeom prst="curvedConnector3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677A0F07-6BB3-4FB3-88E1-A8DF467E4DCE}"/>
              </a:ext>
            </a:extLst>
          </p:cNvPr>
          <p:cNvSpPr txBox="1"/>
          <p:nvPr/>
        </p:nvSpPr>
        <p:spPr>
          <a:xfrm>
            <a:off x="7597265" y="3623570"/>
            <a:ext cx="39186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Click on Buttons to jump to that topic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750CA5B-969B-4545-9062-A96DD0D3AF98}"/>
              </a:ext>
            </a:extLst>
          </p:cNvPr>
          <p:cNvCxnSpPr>
            <a:cxnSpLocks/>
            <a:stCxn id="30" idx="0"/>
            <a:endCxn id="22" idx="2"/>
          </p:cNvCxnSpPr>
          <p:nvPr/>
        </p:nvCxnSpPr>
        <p:spPr>
          <a:xfrm flipV="1">
            <a:off x="9556582" y="3321626"/>
            <a:ext cx="204640" cy="301944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B6CC5B4-0CEC-4096-8404-EC8969B365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547971" y="5769622"/>
            <a:ext cx="1511939" cy="719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5890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D4D2C6E-7BC0-46EF-B77D-6C2629244C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2456" y="1638479"/>
            <a:ext cx="4863079" cy="279948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1BEA138-7558-498B-8C34-3972E01F2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5" y="159109"/>
            <a:ext cx="9829800" cy="457200"/>
          </a:xfrm>
        </p:spPr>
        <p:txBody>
          <a:bodyPr/>
          <a:lstStyle/>
          <a:p>
            <a:r>
              <a:rPr lang="en-GB"/>
              <a:t>Quality Foundations Introdu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37654D8-7ACD-49AF-B810-B815F15C077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64638" y="839845"/>
            <a:ext cx="10854906" cy="106706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2400"/>
              <a:t>Quality Foundations is a tool in the Create Stability section of the TEOA House and is comprised of two sub tools, Fast Response &amp; QMS.</a:t>
            </a:r>
          </a:p>
          <a:p>
            <a:endParaRPr lang="en-GB">
              <a:cs typeface="Arial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2BE4572-C3DD-4678-9700-BC85F78FA794}"/>
              </a:ext>
            </a:extLst>
          </p:cNvPr>
          <p:cNvSpPr/>
          <p:nvPr/>
        </p:nvSpPr>
        <p:spPr>
          <a:xfrm>
            <a:off x="4966756" y="4789937"/>
            <a:ext cx="1904308" cy="566878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Quality Foundations</a:t>
            </a:r>
          </a:p>
        </p:txBody>
      </p:sp>
      <p:sp>
        <p:nvSpPr>
          <p:cNvPr id="7" name="Rectangle: Rounded Corners 6">
            <a:hlinkClick r:id="rId4" action="ppaction://hlinksldjump"/>
            <a:extLst>
              <a:ext uri="{FF2B5EF4-FFF2-40B4-BE49-F238E27FC236}">
                <a16:creationId xmlns:a16="http://schemas.microsoft.com/office/drawing/2014/main" id="{BCC2523A-6E29-4C81-A599-19D457D88832}"/>
              </a:ext>
            </a:extLst>
          </p:cNvPr>
          <p:cNvSpPr/>
          <p:nvPr/>
        </p:nvSpPr>
        <p:spPr>
          <a:xfrm>
            <a:off x="7942169" y="4193088"/>
            <a:ext cx="1904308" cy="566878"/>
          </a:xfrm>
          <a:prstGeom prst="roundRect">
            <a:avLst/>
          </a:prstGeom>
          <a:solidFill>
            <a:schemeClr val="tx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Fast Response</a:t>
            </a:r>
          </a:p>
        </p:txBody>
      </p:sp>
      <p:sp>
        <p:nvSpPr>
          <p:cNvPr id="9" name="Rectangle: Rounded Corners 8">
            <a:hlinkClick r:id="rId5" action="ppaction://hlinksldjump"/>
            <a:extLst>
              <a:ext uri="{FF2B5EF4-FFF2-40B4-BE49-F238E27FC236}">
                <a16:creationId xmlns:a16="http://schemas.microsoft.com/office/drawing/2014/main" id="{46EC4A61-EE7B-4832-B245-F3CB539729C4}"/>
              </a:ext>
            </a:extLst>
          </p:cNvPr>
          <p:cNvSpPr/>
          <p:nvPr/>
        </p:nvSpPr>
        <p:spPr>
          <a:xfrm>
            <a:off x="7942169" y="5286693"/>
            <a:ext cx="1904308" cy="566878"/>
          </a:xfrm>
          <a:prstGeom prst="roundRect">
            <a:avLst/>
          </a:prstGeom>
          <a:solidFill>
            <a:schemeClr val="tx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/>
              <a:t>QMS</a:t>
            </a:r>
          </a:p>
        </p:txBody>
      </p:sp>
      <p:cxnSp>
        <p:nvCxnSpPr>
          <p:cNvPr id="12" name="Connector: Curved 11">
            <a:extLst>
              <a:ext uri="{FF2B5EF4-FFF2-40B4-BE49-F238E27FC236}">
                <a16:creationId xmlns:a16="http://schemas.microsoft.com/office/drawing/2014/main" id="{F44942FC-E693-4721-B0FE-6E4A688561C7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 flipV="1">
            <a:off x="6871064" y="4476527"/>
            <a:ext cx="1071105" cy="596849"/>
          </a:xfrm>
          <a:prstGeom prst="curvedConnector3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Curved 14">
            <a:extLst>
              <a:ext uri="{FF2B5EF4-FFF2-40B4-BE49-F238E27FC236}">
                <a16:creationId xmlns:a16="http://schemas.microsoft.com/office/drawing/2014/main" id="{33E799FA-DE31-4FF1-8019-ED31C4964180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6871064" y="5073376"/>
            <a:ext cx="1071105" cy="496756"/>
          </a:xfrm>
          <a:prstGeom prst="curvedConnector3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107AE41-027F-46BF-940B-D7A67EFB63DD}"/>
              </a:ext>
            </a:extLst>
          </p:cNvPr>
          <p:cNvSpPr/>
          <p:nvPr/>
        </p:nvSpPr>
        <p:spPr>
          <a:xfrm>
            <a:off x="3114743" y="6018155"/>
            <a:ext cx="66302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>
                <a:solidFill>
                  <a:schemeClr val="accent6"/>
                </a:solidFill>
              </a:rPr>
              <a:t>Note: Click on the Buttons above to quickly access the topic</a:t>
            </a:r>
          </a:p>
        </p:txBody>
      </p:sp>
      <p:pic>
        <p:nvPicPr>
          <p:cNvPr id="17" name="Graphic 16" descr="Speech">
            <a:extLst>
              <a:ext uri="{FF2B5EF4-FFF2-40B4-BE49-F238E27FC236}">
                <a16:creationId xmlns:a16="http://schemas.microsoft.com/office/drawing/2014/main" id="{DE38EC93-429C-401C-96B2-96DD3F887B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24593" y="5853571"/>
            <a:ext cx="698500" cy="69850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BC95B12-3AE9-4308-9746-38ED4B9CCAF2}"/>
              </a:ext>
            </a:extLst>
          </p:cNvPr>
          <p:cNvCxnSpPr>
            <a:cxnSpLocks/>
          </p:cNvCxnSpPr>
          <p:nvPr/>
        </p:nvCxnSpPr>
        <p:spPr>
          <a:xfrm>
            <a:off x="3858299" y="4325196"/>
            <a:ext cx="2924886" cy="481708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23CC30C-1439-44D2-B598-C53A1C980D4D}"/>
              </a:ext>
            </a:extLst>
          </p:cNvPr>
          <p:cNvCxnSpPr>
            <a:cxnSpLocks/>
          </p:cNvCxnSpPr>
          <p:nvPr/>
        </p:nvCxnSpPr>
        <p:spPr>
          <a:xfrm>
            <a:off x="3115803" y="4430016"/>
            <a:ext cx="1916411" cy="888004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9BB8E6E-7EDE-4F3A-A97E-83D69DA0C2C6}"/>
              </a:ext>
            </a:extLst>
          </p:cNvPr>
          <p:cNvSpPr/>
          <p:nvPr/>
        </p:nvSpPr>
        <p:spPr>
          <a:xfrm>
            <a:off x="3114050" y="4229642"/>
            <a:ext cx="738898" cy="208291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6911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95FA48-BBE1-4738-B070-9A8D28CAD1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Fast Response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F0C4677F-ADE4-4F1F-B3E3-F2ABFF29523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i="1">
                <a:ea typeface="+mn-lt"/>
                <a:cs typeface="+mn-lt"/>
              </a:rPr>
              <a:t>A standardized process that focuses on the speed and effectiveness of our response to quality failures or concer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117760-0A07-4657-9F7F-C6584F903E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386" y="1642442"/>
            <a:ext cx="6335685" cy="3573116"/>
          </a:xfrm>
          <a:prstGeom prst="rect">
            <a:avLst/>
          </a:prstGeom>
        </p:spPr>
      </p:pic>
      <p:pic>
        <p:nvPicPr>
          <p:cNvPr id="6" name="Picture 5">
            <a:hlinkClick r:id="rId3" action="ppaction://hlinksldjump"/>
            <a:extLst>
              <a:ext uri="{FF2B5EF4-FFF2-40B4-BE49-F238E27FC236}">
                <a16:creationId xmlns:a16="http://schemas.microsoft.com/office/drawing/2014/main" id="{E7F8DC12-0E25-457B-9E68-561BC9573F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4037" y="5743521"/>
            <a:ext cx="1508690" cy="71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4900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477781-05C6-4635-A850-F123C601CF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477781-05C6-4635-A850-F123C601C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335E2A6A-4DB0-4A08-AE8A-55996CF453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53154" y="877577"/>
            <a:ext cx="5904953" cy="4830422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finition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is the Purpose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y Use it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Implement Fast Response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st Practice Examples 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DP repository on Fast Response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1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Questions to Consider</a:t>
            </a:r>
            <a:endParaRPr lang="en-US" sz="2000" b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5050" y="278794"/>
            <a:ext cx="9239248" cy="457200"/>
          </a:xfrm>
        </p:spPr>
        <p:txBody>
          <a:bodyPr/>
          <a:lstStyle/>
          <a:p>
            <a:r>
              <a:rPr lang="en-GB"/>
              <a:t>Fast Response Overview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AACB72B-7C19-4913-BAA1-B40AB19D6E0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54501" y="1251634"/>
            <a:ext cx="4267202" cy="4007551"/>
          </a:xfr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/>
            <a:r>
              <a:rPr lang="en-GB" b="1">
                <a:solidFill>
                  <a:schemeClr val="bg1"/>
                </a:solidFill>
              </a:rPr>
              <a:t>In this Playboo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1"/>
                </a:solidFill>
              </a:rPr>
              <a:t>A </a:t>
            </a:r>
            <a:r>
              <a:rPr lang="en-GB" b="1">
                <a:solidFill>
                  <a:schemeClr val="bg2"/>
                </a:solidFill>
              </a:rPr>
              <a:t>definition </a:t>
            </a:r>
            <a:r>
              <a:rPr lang="en-GB">
                <a:solidFill>
                  <a:schemeClr val="bg1"/>
                </a:solidFill>
              </a:rPr>
              <a:t>of what is Fast Respon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1"/>
                </a:solidFill>
              </a:rPr>
              <a:t>What is the </a:t>
            </a:r>
            <a:r>
              <a:rPr lang="en-GB" b="1">
                <a:solidFill>
                  <a:schemeClr val="bg2"/>
                </a:solidFill>
              </a:rPr>
              <a:t>Purpose</a:t>
            </a:r>
            <a:r>
              <a:rPr lang="en-GB">
                <a:solidFill>
                  <a:schemeClr val="bg1"/>
                </a:solidFill>
              </a:rPr>
              <a:t> of Fast Respon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bg2"/>
                </a:solidFill>
              </a:rPr>
              <a:t>Why use </a:t>
            </a:r>
            <a:r>
              <a:rPr lang="en-GB">
                <a:solidFill>
                  <a:schemeClr val="bg1"/>
                </a:solidFill>
              </a:rPr>
              <a:t>Fast Respon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1"/>
                </a:solidFill>
              </a:rPr>
              <a:t>How to </a:t>
            </a:r>
            <a:r>
              <a:rPr lang="en-GB" b="1">
                <a:solidFill>
                  <a:schemeClr val="bg2"/>
                </a:solidFill>
              </a:rPr>
              <a:t>implement </a:t>
            </a:r>
            <a:r>
              <a:rPr lang="en-GB">
                <a:solidFill>
                  <a:schemeClr val="bg1"/>
                </a:solidFill>
              </a:rPr>
              <a:t>Fast Respons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bg2"/>
                </a:solidFill>
              </a:rPr>
              <a:t>Training materia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bg2"/>
                </a:solidFill>
              </a:rPr>
              <a:t>Best practice </a:t>
            </a:r>
            <a:r>
              <a:rPr lang="en-GB">
                <a:solidFill>
                  <a:schemeClr val="bg1"/>
                </a:solidFill>
              </a:rPr>
              <a:t>exampl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FE4249-E42B-454F-A235-07E41E0F82C6}"/>
              </a:ext>
            </a:extLst>
          </p:cNvPr>
          <p:cNvSpPr/>
          <p:nvPr/>
        </p:nvSpPr>
        <p:spPr>
          <a:xfrm>
            <a:off x="2837352" y="6045290"/>
            <a:ext cx="59683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chemeClr val="accent6"/>
                </a:solidFill>
              </a:rPr>
              <a:t>Note: Click on the links above to quickly access the topic</a:t>
            </a:r>
          </a:p>
        </p:txBody>
      </p:sp>
      <p:pic>
        <p:nvPicPr>
          <p:cNvPr id="11" name="Graphic 10" descr="Speech">
            <a:extLst>
              <a:ext uri="{FF2B5EF4-FFF2-40B4-BE49-F238E27FC236}">
                <a16:creationId xmlns:a16="http://schemas.microsoft.com/office/drawing/2014/main" id="{094B9AD3-0661-4D62-B47A-73A24DADC55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138852" y="5880706"/>
            <a:ext cx="698500" cy="698500"/>
          </a:xfrm>
          <a:prstGeom prst="rect">
            <a:avLst/>
          </a:prstGeom>
        </p:spPr>
      </p:pic>
      <p:pic>
        <p:nvPicPr>
          <p:cNvPr id="8" name="Picture 7">
            <a:hlinkClick r:id="rId16" action="ppaction://hlinksldjump"/>
            <a:extLst>
              <a:ext uri="{FF2B5EF4-FFF2-40B4-BE49-F238E27FC236}">
                <a16:creationId xmlns:a16="http://schemas.microsoft.com/office/drawing/2014/main" id="{E87136EA-B64E-47BE-8087-63721A5AD6A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74037" y="5743521"/>
            <a:ext cx="1508690" cy="71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0889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BA96FB5-41D0-42FC-B139-E18A363823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BA96FB5-41D0-42FC-B139-E18A36382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90012EB-7B29-45DC-B91D-AB1890641F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0B4ADF-CEFB-40EB-8039-7E47DA62E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219489"/>
            <a:ext cx="9829800" cy="457200"/>
          </a:xfrm>
        </p:spPr>
        <p:txBody>
          <a:bodyPr/>
          <a:lstStyle/>
          <a:p>
            <a:r>
              <a:rPr lang="en-GB" dirty="0"/>
              <a:t>1. Fast Response Defini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CE8901-5E54-4A6D-A8CB-D333F4CB211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2998" y="1958849"/>
            <a:ext cx="6106473" cy="4216400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Char char="•"/>
            </a:pPr>
            <a:r>
              <a:rPr lang="en-US" sz="1600" kern="1200" dirty="0">
                <a:ea typeface="+mn-lt"/>
                <a:cs typeface="+mn-lt"/>
              </a:rPr>
              <a:t>It reflects the expected implementation of the TE complaint handling process as described in </a:t>
            </a:r>
            <a:r>
              <a:rPr lang="en-US" sz="1600" b="1" kern="1200" dirty="0">
                <a:ea typeface="+mn-lt"/>
                <a:cs typeface="+mn-lt"/>
                <a:hlinkClick r:id="rId7" tooltip="Click here to access TEC-1002 on DM TEC"/>
              </a:rPr>
              <a:t>TEC-1002</a:t>
            </a:r>
            <a:r>
              <a:rPr lang="en-US" sz="1600" kern="1200" dirty="0">
                <a:ea typeface="+mn-lt"/>
                <a:cs typeface="+mn-lt"/>
                <a:hlinkClick r:id="rId7" tooltip="Click here to access TEC-1002 on DM TEC"/>
              </a:rPr>
              <a:t>.</a:t>
            </a:r>
            <a:r>
              <a:rPr lang="en-US" dirty="0">
                <a:ea typeface="+mn-lt"/>
                <a:cs typeface="+mn-lt"/>
              </a:rPr>
              <a:t> </a:t>
            </a:r>
            <a:endParaRPr lang="en-US" sz="1600" kern="1200" dirty="0">
              <a:latin typeface="Arial"/>
              <a:cs typeface="Arial"/>
            </a:endParaRPr>
          </a:p>
          <a:p>
            <a:pPr marL="285750" indent="-285750">
              <a:buChar char="•"/>
            </a:pPr>
            <a:r>
              <a:rPr lang="en-US" sz="1600" kern="1200" dirty="0">
                <a:ea typeface="+mn-lt"/>
                <a:cs typeface="+mn-lt"/>
              </a:rPr>
              <a:t>It has a focus on </a:t>
            </a:r>
            <a:r>
              <a:rPr lang="en-US" sz="1600" b="1" kern="1200" dirty="0">
                <a:ea typeface="+mn-lt"/>
                <a:cs typeface="+mn-lt"/>
              </a:rPr>
              <a:t>shop floor execution</a:t>
            </a:r>
            <a:r>
              <a:rPr lang="en-US" sz="1600" kern="1200" dirty="0">
                <a:ea typeface="+mn-lt"/>
                <a:cs typeface="+mn-lt"/>
              </a:rPr>
              <a:t>, with engagement of </a:t>
            </a:r>
            <a:r>
              <a:rPr lang="en-US" b="1" dirty="0">
                <a:ea typeface="+mn-lt"/>
                <a:cs typeface="+mn-lt"/>
              </a:rPr>
              <a:t>cross-functional teams</a:t>
            </a:r>
            <a:r>
              <a:rPr lang="en-US" sz="1600" b="1" kern="1200" dirty="0">
                <a:ea typeface="+mn-lt"/>
                <a:cs typeface="+mn-lt"/>
              </a:rPr>
              <a:t> </a:t>
            </a:r>
            <a:r>
              <a:rPr lang="en-US" sz="1600" kern="1200" dirty="0">
                <a:ea typeface="+mn-lt"/>
                <a:cs typeface="+mn-lt"/>
              </a:rPr>
              <a:t>throughout the different steps of the process.</a:t>
            </a:r>
            <a:endParaRPr lang="en-US" dirty="0">
              <a:ea typeface="+mn-lt"/>
              <a:cs typeface="+mn-lt"/>
            </a:endParaRPr>
          </a:p>
          <a:p>
            <a:pPr marL="285750" indent="-285750">
              <a:buChar char="•"/>
            </a:pPr>
            <a:r>
              <a:rPr lang="en-US" dirty="0">
                <a:ea typeface="+mn-lt"/>
                <a:cs typeface="+mn-lt"/>
              </a:rPr>
              <a:t>It includes the </a:t>
            </a:r>
            <a:r>
              <a:rPr lang="en-US" b="1" dirty="0">
                <a:ea typeface="+mn-lt"/>
                <a:cs typeface="+mn-lt"/>
              </a:rPr>
              <a:t>systemic lessons learned activity</a:t>
            </a:r>
            <a:r>
              <a:rPr lang="en-US" dirty="0">
                <a:ea typeface="+mn-lt"/>
                <a:cs typeface="+mn-lt"/>
              </a:rPr>
              <a:t>, to ensure that defined solutions are sustainably implemented, not only in the area that is subject of the quality occurrence, but also throughout the site and across sites.</a:t>
            </a:r>
            <a:endParaRPr lang="en-US" dirty="0">
              <a:cs typeface="Arial"/>
            </a:endParaRPr>
          </a:p>
          <a:p>
            <a:pPr marL="285750" indent="-285750">
              <a:buChar char="•"/>
            </a:pPr>
            <a:r>
              <a:rPr lang="en-US" dirty="0">
                <a:ea typeface="+mn-lt"/>
                <a:cs typeface="+mn-lt"/>
              </a:rPr>
              <a:t>It includes in a “next step” the aspect of consolidation of </a:t>
            </a:r>
            <a:r>
              <a:rPr lang="en-US" b="1" dirty="0">
                <a:ea typeface="+mn-lt"/>
                <a:cs typeface="+mn-lt"/>
              </a:rPr>
              <a:t>lessons learned</a:t>
            </a:r>
            <a:r>
              <a:rPr lang="en-US" dirty="0">
                <a:ea typeface="+mn-lt"/>
                <a:cs typeface="+mn-lt"/>
              </a:rPr>
              <a:t> to a specific topic. </a:t>
            </a:r>
          </a:p>
          <a:p>
            <a:pPr marL="285750" indent="-285750">
              <a:buChar char="•"/>
            </a:pPr>
            <a:r>
              <a:rPr lang="en-US" dirty="0">
                <a:ea typeface="+mn-lt"/>
                <a:cs typeface="+mn-lt"/>
              </a:rPr>
              <a:t>Manage the growing TE expertise on how to avoid failures from occurring and escaping, through use of FMEA and Lessons Learned repository. </a:t>
            </a:r>
            <a:endParaRPr lang="en-US" dirty="0">
              <a:cs typeface="Arial"/>
            </a:endParaRPr>
          </a:p>
          <a:p>
            <a:pPr marL="285750" indent="-285750" algn="l">
              <a:buChar char="•"/>
            </a:pPr>
            <a:endParaRPr lang="en-US" dirty="0">
              <a:solidFill>
                <a:srgbClr val="7F7F7F"/>
              </a:solidFill>
              <a:cs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3A4681-EE59-414F-A9FB-BD9B9FBBF2F8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12" name="Graphic 11" descr="List">
              <a:hlinkClick r:id="rId8" action="ppaction://hlinksldjump"/>
              <a:extLst>
                <a:ext uri="{FF2B5EF4-FFF2-40B4-BE49-F238E27FC236}">
                  <a16:creationId xmlns:a16="http://schemas.microsoft.com/office/drawing/2014/main" id="{6DFE6A96-130C-4EA5-918A-115EA704D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749E03E-E781-4E72-93C5-BEC25171C185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0" name="Picture 9">
            <a:hlinkClick r:id="rId11" action="ppaction://hlinksldjump"/>
            <a:extLst>
              <a:ext uri="{FF2B5EF4-FFF2-40B4-BE49-F238E27FC236}">
                <a16:creationId xmlns:a16="http://schemas.microsoft.com/office/drawing/2014/main" id="{8113B4AA-19A0-4537-9C89-2E0BD24FF9A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29208" y="6010937"/>
            <a:ext cx="1508690" cy="7177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BB996A-06E2-4A91-BD74-3A3F767005D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67542" y="2161929"/>
            <a:ext cx="5212320" cy="245327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1756E7A-3FEF-42A0-A3E6-E3E35BF23CB9}"/>
              </a:ext>
            </a:extLst>
          </p:cNvPr>
          <p:cNvSpPr/>
          <p:nvPr/>
        </p:nvSpPr>
        <p:spPr>
          <a:xfrm>
            <a:off x="664309" y="955655"/>
            <a:ext cx="111397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b="1" i="1" dirty="0">
                <a:cs typeface="Arial"/>
              </a:rPr>
              <a:t>A standardized process that focuses on the speed and effectiveness of our response to quality failures or concerns.</a:t>
            </a:r>
            <a:endParaRPr lang="en-US" sz="2400" b="1" dirty="0">
              <a:solidFill>
                <a:srgbClr val="7F7F7F"/>
              </a:solidFill>
              <a:cs typeface="Arial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5D37803-D5BC-48D7-8599-1A62AD15D5D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83921" y="4903895"/>
            <a:ext cx="503323" cy="50332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8640040-507D-43C3-876E-DD11D699548D}"/>
              </a:ext>
            </a:extLst>
          </p:cNvPr>
          <p:cNvSpPr/>
          <p:nvPr/>
        </p:nvSpPr>
        <p:spPr>
          <a:xfrm>
            <a:off x="7387244" y="4970890"/>
            <a:ext cx="44709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ea typeface="+mn-lt"/>
                <a:cs typeface="+mn-lt"/>
              </a:rPr>
              <a:t>The template above is the standard Fast Response tracking board 53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9764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BB9774B-79AE-4977-BDED-A2124737A0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BB9774B-79AE-4977-BDED-A2124737A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265FB92-1DE8-45E0-8822-DE597E4E9B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47A6D8-32C2-445A-8DBC-A634BB0A4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219489"/>
            <a:ext cx="9829800" cy="457200"/>
          </a:xfrm>
        </p:spPr>
        <p:txBody>
          <a:bodyPr/>
          <a:lstStyle/>
          <a:p>
            <a:r>
              <a:rPr lang="en-GB" dirty="0"/>
              <a:t>2. What is the Purpose of Fast Respon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751A7-9454-47A8-B1C1-4DBB17EAE70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4349" y="778448"/>
            <a:ext cx="11474895" cy="152637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>
                <a:ea typeface="+mn-lt"/>
                <a:cs typeface="+mn-lt"/>
              </a:rPr>
              <a:t>The purpose of Fast Response is to ensure a </a:t>
            </a:r>
            <a:r>
              <a:rPr lang="en-US" sz="2000" b="1" dirty="0">
                <a:ea typeface="+mn-lt"/>
                <a:cs typeface="+mn-lt"/>
              </a:rPr>
              <a:t>timely and effective problem-solving process </a:t>
            </a:r>
            <a:r>
              <a:rPr lang="en-US" sz="2000" dirty="0">
                <a:ea typeface="+mn-lt"/>
                <a:cs typeface="+mn-lt"/>
              </a:rPr>
              <a:t>for identified quality issues. </a:t>
            </a:r>
          </a:p>
          <a:p>
            <a:r>
              <a:rPr lang="en-US" sz="2000" dirty="0">
                <a:ea typeface="+mn-lt"/>
                <a:cs typeface="+mn-lt"/>
              </a:rPr>
              <a:t>This can be triggered from </a:t>
            </a:r>
            <a:r>
              <a:rPr lang="en-US" sz="2000" b="1" dirty="0">
                <a:ea typeface="+mn-lt"/>
                <a:cs typeface="+mn-lt"/>
              </a:rPr>
              <a:t>customer notifications</a:t>
            </a:r>
            <a:r>
              <a:rPr lang="en-US" sz="2000" dirty="0">
                <a:ea typeface="+mn-lt"/>
                <a:cs typeface="+mn-lt"/>
              </a:rPr>
              <a:t>, but equally applies to identified </a:t>
            </a:r>
            <a:r>
              <a:rPr lang="en-US" sz="2000" b="1" dirty="0">
                <a:ea typeface="+mn-lt"/>
                <a:cs typeface="+mn-lt"/>
              </a:rPr>
              <a:t>quality risks </a:t>
            </a:r>
            <a:r>
              <a:rPr lang="en-US" sz="2000" dirty="0">
                <a:ea typeface="+mn-lt"/>
                <a:cs typeface="+mn-lt"/>
              </a:rPr>
              <a:t>from internal manufacturing processes or from within TE delivery. </a:t>
            </a:r>
          </a:p>
          <a:p>
            <a:pPr algn="l" rtl="0"/>
            <a:endParaRPr lang="en-US" sz="2000" dirty="0">
              <a:ea typeface="+mn-lt"/>
              <a:cs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E449EFD-9D93-47F1-AC7F-5E03F37E4A78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11" name="Graphic 10" descr="List">
              <a:hlinkClick r:id="rId7" action="ppaction://hlinksldjump"/>
              <a:extLst>
                <a:ext uri="{FF2B5EF4-FFF2-40B4-BE49-F238E27FC236}">
                  <a16:creationId xmlns:a16="http://schemas.microsoft.com/office/drawing/2014/main" id="{B39BD8E0-9EC4-4BAC-84ED-0F1C9FE2686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CAE0177-91CB-44F3-8F39-A723591E9CB3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3" name="Picture 12">
            <a:hlinkClick r:id="rId10" action="ppaction://hlinksldjump"/>
            <a:extLst>
              <a:ext uri="{FF2B5EF4-FFF2-40B4-BE49-F238E27FC236}">
                <a16:creationId xmlns:a16="http://schemas.microsoft.com/office/drawing/2014/main" id="{E80CAB07-C623-416C-8B9C-85ADFD14BED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29208" y="6010937"/>
            <a:ext cx="1508690" cy="71778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20A2DA0-1890-4244-B56F-1279BB084108}"/>
              </a:ext>
            </a:extLst>
          </p:cNvPr>
          <p:cNvSpPr/>
          <p:nvPr/>
        </p:nvSpPr>
        <p:spPr>
          <a:xfrm>
            <a:off x="440646" y="2406583"/>
            <a:ext cx="11305151" cy="28623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US" sz="2000" dirty="0">
                <a:ea typeface="+mn-lt"/>
                <a:cs typeface="+mn-lt"/>
              </a:rPr>
              <a:t>The use of this tool is aiming for:</a:t>
            </a:r>
          </a:p>
          <a:p>
            <a:pPr marL="800100" lvl="1" indent="-3429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2"/>
                </a:solidFill>
                <a:ea typeface="+mn-lt"/>
                <a:cs typeface="+mn-lt"/>
              </a:rPr>
              <a:t>Speed: </a:t>
            </a:r>
            <a:r>
              <a:rPr lang="en-US" sz="2000" dirty="0">
                <a:ea typeface="+mn-lt"/>
                <a:cs typeface="+mn-lt"/>
              </a:rPr>
              <a:t>cost of poor quality is rapidly increasing if quality problems are not timely stopped at the source. </a:t>
            </a:r>
          </a:p>
          <a:p>
            <a:pPr marL="800100" lvl="1" indent="-3429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2"/>
                </a:solidFill>
                <a:ea typeface="+mn-lt"/>
                <a:cs typeface="+mn-lt"/>
              </a:rPr>
              <a:t>Effectiveness:</a:t>
            </a:r>
            <a:r>
              <a:rPr lang="en-US" sz="2000" dirty="0">
                <a:ea typeface="+mn-lt"/>
                <a:cs typeface="+mn-lt"/>
              </a:rPr>
              <a:t>  re-occurrence of quality problems are severely rated by our customers and a reason for escalation. </a:t>
            </a:r>
          </a:p>
          <a:p>
            <a:pPr marL="800100" lvl="1" indent="-3429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2"/>
                </a:solidFill>
                <a:ea typeface="+mn-lt"/>
                <a:cs typeface="+mn-lt"/>
              </a:rPr>
              <a:t>Prevention:</a:t>
            </a:r>
            <a:r>
              <a:rPr lang="en-US" sz="2000" dirty="0">
                <a:ea typeface="+mn-lt"/>
                <a:cs typeface="+mn-lt"/>
              </a:rPr>
              <a:t> Lessons learned that contribute to an increasing systemic robustness against Quality failures</a:t>
            </a:r>
          </a:p>
          <a:p>
            <a:pPr marL="800100" lvl="1" indent="-3429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2"/>
                </a:solidFill>
                <a:ea typeface="+mn-lt"/>
                <a:cs typeface="+mn-lt"/>
              </a:rPr>
              <a:t>Know how increase: </a:t>
            </a:r>
            <a:r>
              <a:rPr lang="en-US" sz="2000" dirty="0">
                <a:ea typeface="+mn-lt"/>
                <a:cs typeface="+mn-lt"/>
              </a:rPr>
              <a:t>consolidation of Lessons Learned using master FMEA's for TE's core processes, connected with Lessons Learned repositories for re-occurring failure types.</a:t>
            </a:r>
            <a:endParaRPr lang="en-GB" sz="20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0679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 bldLvl="2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4F93EAF-9321-44D8-B10A-663E26C995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4F93EAF-9321-44D8-B10A-663E26C995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E5CBBEB2-7762-40BD-BF6A-D4A4525FF0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9569DD-3A19-4113-8A30-2A914D8BD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219489"/>
            <a:ext cx="9829800" cy="457200"/>
          </a:xfrm>
        </p:spPr>
        <p:txBody>
          <a:bodyPr/>
          <a:lstStyle/>
          <a:p>
            <a:r>
              <a:rPr lang="en-GB" dirty="0"/>
              <a:t>3. Why Use Fast Respons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79849F-9B21-4E4B-B654-C43CBDE8C2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6000" y="875366"/>
            <a:ext cx="11160000" cy="1407864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cs typeface="Arial"/>
              </a:rPr>
              <a:t>The Fast Response process </a:t>
            </a:r>
            <a:r>
              <a:rPr lang="en-GB" b="1" dirty="0">
                <a:cs typeface="Arial"/>
              </a:rPr>
              <a:t>engages all functions </a:t>
            </a:r>
            <a:r>
              <a:rPr lang="en-GB" dirty="0">
                <a:cs typeface="Arial"/>
              </a:rPr>
              <a:t>that are connected to the identified quality issue, as soon as the issue is identified, and until it has been systemically closed.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cs typeface="Arial"/>
              </a:rPr>
              <a:t>It has a </a:t>
            </a:r>
            <a:r>
              <a:rPr lang="en-GB" b="1" dirty="0">
                <a:cs typeface="Arial"/>
              </a:rPr>
              <a:t>high shop floor visibility and presence </a:t>
            </a:r>
            <a:r>
              <a:rPr lang="en-GB" dirty="0">
                <a:cs typeface="Arial"/>
              </a:rPr>
              <a:t>with the tools provided.</a:t>
            </a:r>
            <a:r>
              <a:rPr lang="en-GB" sz="2400" dirty="0">
                <a:cs typeface="Arial"/>
              </a:rPr>
              <a:t>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cs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C6BB258-41FA-4553-B772-1917DF7363BE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11" name="Graphic 10" descr="List">
              <a:hlinkClick r:id="rId7" action="ppaction://hlinksldjump"/>
              <a:extLst>
                <a:ext uri="{FF2B5EF4-FFF2-40B4-BE49-F238E27FC236}">
                  <a16:creationId xmlns:a16="http://schemas.microsoft.com/office/drawing/2014/main" id="{D850DF1D-1157-4AC4-9EF2-BB7EE3ACC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0EEA12E-70D4-465B-BAF7-45C12F02D3E0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3" name="Picture 12">
            <a:hlinkClick r:id="rId10" action="ppaction://hlinksldjump"/>
            <a:extLst>
              <a:ext uri="{FF2B5EF4-FFF2-40B4-BE49-F238E27FC236}">
                <a16:creationId xmlns:a16="http://schemas.microsoft.com/office/drawing/2014/main" id="{1F502A4B-50D7-47CC-93AB-0760F215966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29208" y="6010937"/>
            <a:ext cx="1508690" cy="717782"/>
          </a:xfrm>
          <a:prstGeom prst="rect">
            <a:avLst/>
          </a:prstGeom>
        </p:spPr>
      </p:pic>
      <p:pic>
        <p:nvPicPr>
          <p:cNvPr id="18" name="Grafik 1">
            <a:extLst>
              <a:ext uri="{FF2B5EF4-FFF2-40B4-BE49-F238E27FC236}">
                <a16:creationId xmlns:a16="http://schemas.microsoft.com/office/drawing/2014/main" id="{A1A82512-6223-47A1-B29E-8883F99A9C0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8479" y="2067754"/>
            <a:ext cx="10175042" cy="38563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AF14D3B-687D-40B6-A7C7-14A31869C478}"/>
              </a:ext>
            </a:extLst>
          </p:cNvPr>
          <p:cNvSpPr/>
          <p:nvPr/>
        </p:nvSpPr>
        <p:spPr>
          <a:xfrm>
            <a:off x="4771759" y="5990240"/>
            <a:ext cx="31165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cs typeface="Arial"/>
              </a:rPr>
              <a:t>Digital Fast Response Dashboard Example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098069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570" y="277642"/>
            <a:ext cx="9829800" cy="457200"/>
          </a:xfrm>
        </p:spPr>
        <p:txBody>
          <a:bodyPr/>
          <a:lstStyle/>
          <a:p>
            <a:r>
              <a:rPr lang="en-GB" dirty="0"/>
              <a:t>4. How to Implement Fast Response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87258" y="900821"/>
            <a:ext cx="11454285" cy="264806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400" b="1" dirty="0"/>
              <a:t>Prepare</a:t>
            </a:r>
            <a:endParaRPr lang="en-US" sz="2400" b="1" dirty="0">
              <a:cs typeface="Arial"/>
            </a:endParaRPr>
          </a:p>
          <a:p>
            <a:pPr lvl="1"/>
            <a:r>
              <a:rPr lang="en-US" sz="2000" dirty="0"/>
              <a:t>The Site Leadership teams have completed </a:t>
            </a:r>
            <a:r>
              <a:rPr lang="en-US" sz="2000" b="1" dirty="0"/>
              <a:t>Fast Response training</a:t>
            </a:r>
            <a:r>
              <a:rPr lang="en-US" sz="2000" dirty="0"/>
              <a:t>, </a:t>
            </a:r>
            <a:r>
              <a:rPr lang="en-US" sz="2000" dirty="0">
                <a:solidFill>
                  <a:srgbClr val="666666"/>
                </a:solidFill>
              </a:rPr>
              <a:t>so they understand their role in coaching and confirming on the effectiveness of the teams involved. </a:t>
            </a:r>
            <a:br>
              <a:rPr lang="en-US" sz="2000" dirty="0"/>
            </a:br>
            <a:r>
              <a:rPr lang="en-US" sz="2000" b="1" dirty="0"/>
              <a:t>Cross functional teams </a:t>
            </a:r>
            <a:r>
              <a:rPr lang="en-US" sz="2000" dirty="0"/>
              <a:t>are trained and engaged in problem solving activities.</a:t>
            </a:r>
          </a:p>
          <a:p>
            <a:pPr lvl="1"/>
            <a:br>
              <a:rPr lang="en-US" sz="2000" dirty="0"/>
            </a:br>
            <a:r>
              <a:rPr lang="en-US" sz="2000" dirty="0"/>
              <a:t>See also </a:t>
            </a:r>
            <a:r>
              <a:rPr lang="en-US" sz="2000" dirty="0">
                <a:hlinkClick r:id="rId3"/>
              </a:rPr>
              <a:t>Built in Quality</a:t>
            </a:r>
            <a:r>
              <a:rPr lang="en-US" sz="2000" dirty="0"/>
              <a:t> (TEC-406-160021) for Problem Solving methodologies. </a:t>
            </a:r>
            <a:endParaRPr lang="en-US" sz="2000" dirty="0">
              <a:cs typeface="Arial"/>
            </a:endParaRPr>
          </a:p>
          <a:p>
            <a:pPr marL="228600" lvl="1" indent="0">
              <a:buNone/>
            </a:pPr>
            <a:endParaRPr lang="en-US" sz="1800" dirty="0"/>
          </a:p>
          <a:p>
            <a:endParaRPr lang="en-US" sz="2400" dirty="0">
              <a:cs typeface="Arial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2AA38A5-6C73-4CC0-BCD7-7EE135AA4FB8}"/>
              </a:ext>
            </a:extLst>
          </p:cNvPr>
          <p:cNvGrpSpPr/>
          <p:nvPr/>
        </p:nvGrpSpPr>
        <p:grpSpPr>
          <a:xfrm>
            <a:off x="106219" y="6175249"/>
            <a:ext cx="1230284" cy="664721"/>
            <a:chOff x="8407400" y="5845092"/>
            <a:chExt cx="1289135" cy="672559"/>
          </a:xfrm>
        </p:grpSpPr>
        <p:pic>
          <p:nvPicPr>
            <p:cNvPr id="14" name="Graphic 13" descr="List">
              <a:hlinkClick r:id="rId4" action="ppaction://hlinksldjump"/>
              <a:extLst>
                <a:ext uri="{FF2B5EF4-FFF2-40B4-BE49-F238E27FC236}">
                  <a16:creationId xmlns:a16="http://schemas.microsoft.com/office/drawing/2014/main" id="{CD39B020-D418-4D9C-BE21-A392616FD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247B018-71DA-498F-AB13-E526C23A5125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7" name="Picture 16">
            <a:hlinkClick r:id="rId7" action="ppaction://hlinksldjump"/>
            <a:extLst>
              <a:ext uri="{FF2B5EF4-FFF2-40B4-BE49-F238E27FC236}">
                <a16:creationId xmlns:a16="http://schemas.microsoft.com/office/drawing/2014/main" id="{0CAA6C68-5BA6-47CF-B4A4-7856B00488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29208" y="6068629"/>
            <a:ext cx="1508690" cy="7177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E1E84EA-C1D8-4ABA-9573-BBD4259DE68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34021" y="3555304"/>
            <a:ext cx="2303268" cy="17242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705F858-CA97-4745-874F-39E2D820E15C}"/>
              </a:ext>
            </a:extLst>
          </p:cNvPr>
          <p:cNvSpPr txBox="1"/>
          <p:nvPr/>
        </p:nvSpPr>
        <p:spPr>
          <a:xfrm>
            <a:off x="4786382" y="5483853"/>
            <a:ext cx="3358673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i="1"/>
            </a:lvl1pPr>
          </a:lstStyle>
          <a:p>
            <a:r>
              <a:rPr lang="en-GB" dirty="0"/>
              <a:t>Additional training on LEARN@TE </a:t>
            </a:r>
            <a:r>
              <a:rPr lang="en-GB" dirty="0">
                <a:hlinkClick r:id="rId10"/>
              </a:rPr>
              <a:t>APL 8D Certification - 8D Modu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3934D84-1A85-4F46-8F28-0162474FB6B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38117" y="4319808"/>
            <a:ext cx="3136050" cy="84690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B12708B-30B9-4E21-9287-31FDDA6AA5CC}"/>
              </a:ext>
            </a:extLst>
          </p:cNvPr>
          <p:cNvSpPr/>
          <p:nvPr/>
        </p:nvSpPr>
        <p:spPr>
          <a:xfrm>
            <a:off x="1046242" y="5483853"/>
            <a:ext cx="31360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i="1" dirty="0"/>
              <a:t>Refer to </a:t>
            </a:r>
            <a:r>
              <a:rPr lang="en-GB" sz="1600" i="1" dirty="0">
                <a:hlinkClick r:id="rId12"/>
              </a:rPr>
              <a:t>TEOA 122 Fast Response</a:t>
            </a:r>
            <a:r>
              <a:rPr lang="en-GB" sz="1600" i="1" dirty="0"/>
              <a:t> training material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B23E468-7D53-417F-A705-E42BC2B95A0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6756" y="5483854"/>
            <a:ext cx="503323" cy="50332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93F4891-77FE-40AD-A161-830F64DB985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71426" y="5483854"/>
            <a:ext cx="503323" cy="50332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8CF68B6-117F-4CBF-89AC-5969E8AC5AC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55646" y="3676219"/>
            <a:ext cx="2633448" cy="14824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1A2F3F7-9EB1-4C84-AF94-4B181C9D2182}"/>
              </a:ext>
            </a:extLst>
          </p:cNvPr>
          <p:cNvSpPr/>
          <p:nvPr/>
        </p:nvSpPr>
        <p:spPr>
          <a:xfrm>
            <a:off x="9341093" y="5483853"/>
            <a:ext cx="25762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hlinkClick r:id="rId3"/>
              </a:rPr>
              <a:t>Built in Quality</a:t>
            </a:r>
            <a:r>
              <a:rPr lang="en-US" sz="1600" dirty="0"/>
              <a:t> (TEC-406-160021)</a:t>
            </a:r>
            <a:endParaRPr lang="en-GB" sz="16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2C6AA89-B16F-4180-8E58-97108D4D3D4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28170" y="5496159"/>
            <a:ext cx="503323" cy="50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982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3Mwh2fQiv46rBWEhrX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1GrqkpPF4yAo.QuHud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rdBgjYtYU5reSUcT4y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rZi9QRDaueNY0HPjUG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1GrqkpPF4yAo.QuHud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gpoFIkXEq9dyvcJ0Jl_w"/>
</p:tagLst>
</file>

<file path=ppt/theme/theme1.xml><?xml version="1.0" encoding="utf-8"?>
<a:theme xmlns:a="http://schemas.openxmlformats.org/drawingml/2006/main" name="TE Brand 2020 Theme1">
  <a:themeElements>
    <a:clrScheme name="New">
      <a:dk1>
        <a:srgbClr val="666666"/>
      </a:dk1>
      <a:lt1>
        <a:srgbClr val="FFFFFF"/>
      </a:lt1>
      <a:dk2>
        <a:srgbClr val="FFFFFF"/>
      </a:dk2>
      <a:lt2>
        <a:srgbClr val="E98300"/>
      </a:lt2>
      <a:accent1>
        <a:srgbClr val="E98300"/>
      </a:accent1>
      <a:accent2>
        <a:srgbClr val="666666"/>
      </a:accent2>
      <a:accent3>
        <a:srgbClr val="0066A1"/>
      </a:accent3>
      <a:accent4>
        <a:srgbClr val="3CB7E3"/>
      </a:accent4>
      <a:accent5>
        <a:srgbClr val="FCD350"/>
      </a:accent5>
      <a:accent6>
        <a:srgbClr val="CD202C"/>
      </a:accent6>
      <a:hlink>
        <a:srgbClr val="0066A1"/>
      </a:hlink>
      <a:folHlink>
        <a:srgbClr val="0066A1"/>
      </a:folHlink>
    </a:clrScheme>
    <a:fontScheme name="T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 Brand 2020 Theme1" id="{12899FE3-C2AC-41DA-9923-DD3E7B78135E}" vid="{32FF061F-6323-48F2-9466-41EE6710266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A1BBB0C65B294CA7DCA4A3CE828199" ma:contentTypeVersion="1" ma:contentTypeDescription="Create a new document." ma:contentTypeScope="" ma:versionID="4267dc8f915110def69a0010305e1e16">
  <xsd:schema xmlns:xsd="http://www.w3.org/2001/XMLSchema" xmlns:xs="http://www.w3.org/2001/XMLSchema" xmlns:p="http://schemas.microsoft.com/office/2006/metadata/properties" xmlns:ns2="dbcfff2c-5cce-4cb7-b05b-d3b2e8ac169c" xmlns:ns3="36b2ca4c-9cb9-4390-9c92-9d5e0fe0f0b4" targetNamespace="http://schemas.microsoft.com/office/2006/metadata/properties" ma:root="true" ma:fieldsID="3409fdb901b3d6c5cf251c5765371717" ns2:_="" ns3:_="">
    <xsd:import namespace="dbcfff2c-5cce-4cb7-b05b-d3b2e8ac169c"/>
    <xsd:import namespace="36b2ca4c-9cb9-4390-9c92-9d5e0fe0f0b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u08j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cfff2c-5cce-4cb7-b05b-d3b2e8ac169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b2ca4c-9cb9-4390-9c92-9d5e0fe0f0b4" elementFormDefault="qualified">
    <xsd:import namespace="http://schemas.microsoft.com/office/2006/documentManagement/types"/>
    <xsd:import namespace="http://schemas.microsoft.com/office/infopath/2007/PartnerControls"/>
    <xsd:element name="u08j" ma:index="11" nillable="true" ma:displayName="Link to Training Materials" ma:internalName="u08j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dbcfff2c-5cce-4cb7-b05b-d3b2e8ac169c">VMM2RVFH342Q-1513051167-53</_dlc_DocId>
    <_dlc_DocIdUrl xmlns="dbcfff2c-5cce-4cb7-b05b-d3b2e8ac169c">
      <Url>https://teams.connect.te.com/sites/TEOA/_layouts/15/DocIdRedir.aspx?ID=VMM2RVFH342Q-1513051167-53</Url>
      <Description>VMM2RVFH342Q-1513051167-53</Description>
    </_dlc_DocIdUrl>
    <u08j xmlns="36b2ca4c-9cb9-4390-9c92-9d5e0fe0f0b4">https://teams.connect.te.com/sites/TEOA/instructor%20workspace/English%20Modules/Forms/AllItems.aspx?RootFolder=%2Fsites%2FTEOA%2Finstructor%20workspace%2FEnglish%20Modules%2FTEOA%20122%20Fast%20Response&amp;FolderCTID=0x0120000233B35DFAE61A48B6339E92CA4ECB1A</u08j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064C779F-A822-4C40-9E7B-EF04F7B387C6}"/>
</file>

<file path=customXml/itemProps2.xml><?xml version="1.0" encoding="utf-8"?>
<ds:datastoreItem xmlns:ds="http://schemas.openxmlformats.org/officeDocument/2006/customXml" ds:itemID="{5B0C959A-E494-4BD5-A42B-E69F0C81AF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89342B4-7A07-4881-B7CA-75335F2B90A3}">
  <ds:schemaRefs>
    <ds:schemaRef ds:uri="6185c7e3-e168-4d59-8fe5-63fb03f5c4d1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microsoft.com/sharepoint/v3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8a979830-5909-4d60-b187-86785ccffa7d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98F3B346-F6F8-4B98-9D28-3D2FEC8F425F}"/>
</file>

<file path=docProps/app.xml><?xml version="1.0" encoding="utf-8"?>
<Properties xmlns="http://schemas.openxmlformats.org/officeDocument/2006/extended-properties" xmlns:vt="http://schemas.openxmlformats.org/officeDocument/2006/docPropsVTypes">
  <Template>TE Brand 2020 Theme1</Template>
  <TotalTime>1835</TotalTime>
  <Words>1019</Words>
  <Application>Microsoft Office PowerPoint</Application>
  <PresentationFormat>Widescreen</PresentationFormat>
  <Paragraphs>179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MS PGothic</vt:lpstr>
      <vt:lpstr>Arial</vt:lpstr>
      <vt:lpstr>Calibri</vt:lpstr>
      <vt:lpstr>Times New Roman</vt:lpstr>
      <vt:lpstr>Wingdings</vt:lpstr>
      <vt:lpstr>TE Brand 2020 Theme1</vt:lpstr>
      <vt:lpstr>think-cell Folie</vt:lpstr>
      <vt:lpstr>Quality Foundations Playbook  TEC- 406-160017 </vt:lpstr>
      <vt:lpstr>Using the Quality Foundations Playbook – What do the Icons Mean?</vt:lpstr>
      <vt:lpstr>Quality Foundations Introduction</vt:lpstr>
      <vt:lpstr>Fast Response</vt:lpstr>
      <vt:lpstr>Fast Response Overview</vt:lpstr>
      <vt:lpstr>1. Fast Response Definition</vt:lpstr>
      <vt:lpstr>2. What is the Purpose of Fast Response</vt:lpstr>
      <vt:lpstr>3. Why Use Fast Response?</vt:lpstr>
      <vt:lpstr>4. How to Implement Fast Response</vt:lpstr>
      <vt:lpstr>4. How to Implement Fast Response.</vt:lpstr>
      <vt:lpstr>4. How to Implement Fast Response</vt:lpstr>
      <vt:lpstr>4. How to Implement Fast Response</vt:lpstr>
      <vt:lpstr>5. Fast Response Best Practice Examples </vt:lpstr>
      <vt:lpstr> 6. Access to Shared Best Practices</vt:lpstr>
      <vt:lpstr> QMS</vt:lpstr>
      <vt:lpstr>1. QMS Definition</vt:lpstr>
      <vt:lpstr>Quality Foundations - Improvement Over time</vt:lpstr>
      <vt:lpstr>Questions to Consider around Quality Foundations  Deploy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ality Foundations Playbook TEC-406-160017</dc:title>
  <dc:creator>O'Neill, Dermot</dc:creator>
  <cp:lastModifiedBy>O'Neill, Dermot</cp:lastModifiedBy>
  <cp:revision>719</cp:revision>
  <cp:lastPrinted>2020-06-11T08:54:29Z</cp:lastPrinted>
  <dcterms:created xsi:type="dcterms:W3CDTF">2020-06-02T07:32:50Z</dcterms:created>
  <dcterms:modified xsi:type="dcterms:W3CDTF">2020-12-16T09:4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A1BBB0C65B294CA7DCA4A3CE828199</vt:lpwstr>
  </property>
  <property fmtid="{D5CDD505-2E9C-101B-9397-08002B2CF9AE}" pid="3" name="_dlc_DocIdItemGuid">
    <vt:lpwstr>3180a611-c19b-4d6b-a60d-5384da988db8</vt:lpwstr>
  </property>
</Properties>
</file>